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12" r:id="rId2"/>
    <p:sldId id="315" r:id="rId3"/>
    <p:sldId id="369" r:id="rId4"/>
    <p:sldId id="370" r:id="rId5"/>
    <p:sldId id="346" r:id="rId6"/>
    <p:sldId id="347" r:id="rId7"/>
    <p:sldId id="348" r:id="rId8"/>
    <p:sldId id="353" r:id="rId9"/>
    <p:sldId id="354" r:id="rId10"/>
    <p:sldId id="362" r:id="rId11"/>
    <p:sldId id="360" r:id="rId12"/>
    <p:sldId id="364" r:id="rId13"/>
    <p:sldId id="363" r:id="rId14"/>
    <p:sldId id="365" r:id="rId15"/>
    <p:sldId id="359" r:id="rId16"/>
    <p:sldId id="366" r:id="rId17"/>
    <p:sldId id="367" r:id="rId18"/>
    <p:sldId id="357" r:id="rId19"/>
    <p:sldId id="358" r:id="rId20"/>
    <p:sldId id="371" r:id="rId21"/>
    <p:sldId id="372" r:id="rId22"/>
  </p:sldIdLst>
  <p:sldSz cx="12192000" cy="6858000"/>
  <p:notesSz cx="6797675" cy="9926638"/>
  <p:custShowLst>
    <p:custShow name="Zielgruppenpräsentation 1" id="0">
      <p:sldLst>
        <p:sld r:id="rId2"/>
        <p:sld r:id="rId3"/>
        <p:sld r:id="rId6"/>
      </p:sldLst>
    </p:custShow>
  </p:custShow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47" userDrawn="1">
          <p15:clr>
            <a:srgbClr val="A4A3A4"/>
          </p15:clr>
        </p15:guide>
        <p15:guide id="3" orient="horz" pos="187" userDrawn="1">
          <p15:clr>
            <a:srgbClr val="A4A3A4"/>
          </p15:clr>
        </p15:guide>
        <p15:guide id="4" orient="horz" pos="377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1" clrIdx="0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4273"/>
    <a:srgbClr val="009F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31BA15-32A9-4D55-8B8C-04CE432EC873}" v="18" dt="2025-06-18T12:41:38.6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94664" autoAdjust="0"/>
  </p:normalViewPr>
  <p:slideViewPr>
    <p:cSldViewPr snapToGrid="0" showGuides="1">
      <p:cViewPr varScale="1">
        <p:scale>
          <a:sx n="74" d="100"/>
          <a:sy n="74" d="100"/>
        </p:scale>
        <p:origin x="878" y="67"/>
      </p:cViewPr>
      <p:guideLst>
        <p:guide pos="347"/>
        <p:guide orient="horz" pos="187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resh Tuppathi" userId="69959dc954e1b1ba" providerId="LiveId" clId="{3831BA15-32A9-4D55-8B8C-04CE432EC873}"/>
    <pc:docChg chg="undo custSel delSld modSld">
      <pc:chgData name="Naresh Tuppathi" userId="69959dc954e1b1ba" providerId="LiveId" clId="{3831BA15-32A9-4D55-8B8C-04CE432EC873}" dt="2025-06-18T13:35:28.157" v="279" actId="47"/>
      <pc:docMkLst>
        <pc:docMk/>
      </pc:docMkLst>
      <pc:sldChg chg="modSp del mod">
        <pc:chgData name="Naresh Tuppathi" userId="69959dc954e1b1ba" providerId="LiveId" clId="{3831BA15-32A9-4D55-8B8C-04CE432EC873}" dt="2025-06-18T13:23:41.141" v="277" actId="47"/>
        <pc:sldMkLst>
          <pc:docMk/>
          <pc:sldMk cId="2687508705" sldId="350"/>
        </pc:sldMkLst>
        <pc:spChg chg="mod">
          <ac:chgData name="Naresh Tuppathi" userId="69959dc954e1b1ba" providerId="LiveId" clId="{3831BA15-32A9-4D55-8B8C-04CE432EC873}" dt="2025-06-18T12:41:38.607" v="208"/>
          <ac:spMkLst>
            <pc:docMk/>
            <pc:sldMk cId="2687508705" sldId="350"/>
            <ac:spMk id="11" creationId="{10CCBF12-40B1-4841-A9A7-092A7D4A0A4E}"/>
          </ac:spMkLst>
        </pc:spChg>
      </pc:sldChg>
      <pc:sldChg chg="del">
        <pc:chgData name="Naresh Tuppathi" userId="69959dc954e1b1ba" providerId="LiveId" clId="{3831BA15-32A9-4D55-8B8C-04CE432EC873}" dt="2025-06-18T13:35:26.383" v="278" actId="47"/>
        <pc:sldMkLst>
          <pc:docMk/>
          <pc:sldMk cId="2078243516" sldId="356"/>
        </pc:sldMkLst>
      </pc:sldChg>
      <pc:sldChg chg="modSp mod">
        <pc:chgData name="Naresh Tuppathi" userId="69959dc954e1b1ba" providerId="LiveId" clId="{3831BA15-32A9-4D55-8B8C-04CE432EC873}" dt="2025-06-18T12:45:18.261" v="276" actId="20577"/>
        <pc:sldMkLst>
          <pc:docMk/>
          <pc:sldMk cId="1032638141" sldId="367"/>
        </pc:sldMkLst>
        <pc:spChg chg="mod">
          <ac:chgData name="Naresh Tuppathi" userId="69959dc954e1b1ba" providerId="LiveId" clId="{3831BA15-32A9-4D55-8B8C-04CE432EC873}" dt="2025-06-18T12:45:18.261" v="276" actId="20577"/>
          <ac:spMkLst>
            <pc:docMk/>
            <pc:sldMk cId="1032638141" sldId="367"/>
            <ac:spMk id="14" creationId="{64FF5D33-B7C2-4348-87A3-F7BE16726604}"/>
          </ac:spMkLst>
        </pc:spChg>
      </pc:sldChg>
      <pc:sldChg chg="del">
        <pc:chgData name="Naresh Tuppathi" userId="69959dc954e1b1ba" providerId="LiveId" clId="{3831BA15-32A9-4D55-8B8C-04CE432EC873}" dt="2025-06-18T13:35:28.157" v="279" actId="47"/>
        <pc:sldMkLst>
          <pc:docMk/>
          <pc:sldMk cId="206213860" sldId="368"/>
        </pc:sldMkLst>
      </pc:sldChg>
      <pc:sldChg chg="modSp mod">
        <pc:chgData name="Naresh Tuppathi" userId="69959dc954e1b1ba" providerId="LiveId" clId="{3831BA15-32A9-4D55-8B8C-04CE432EC873}" dt="2025-06-18T12:40:12.320" v="205" actId="20577"/>
        <pc:sldMkLst>
          <pc:docMk/>
          <pc:sldMk cId="661461544" sldId="371"/>
        </pc:sldMkLst>
        <pc:spChg chg="mod">
          <ac:chgData name="Naresh Tuppathi" userId="69959dc954e1b1ba" providerId="LiveId" clId="{3831BA15-32A9-4D55-8B8C-04CE432EC873}" dt="2025-06-18T12:40:12.320" v="205" actId="20577"/>
          <ac:spMkLst>
            <pc:docMk/>
            <pc:sldMk cId="661461544" sldId="371"/>
            <ac:spMk id="2" creationId="{416C8459-7320-C911-D1DF-1F25CF78843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030CBB-C20E-4188-A25A-5B2484FD4627}" type="datetimeFigureOut">
              <a:rPr lang="de-DE" smtClean="0"/>
              <a:t>18.06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9750"/>
            <a:ext cx="2945659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600B71-33AA-47B9-AF3D-030E02AA07B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3081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AF5B8A-E857-441B-B26C-91E2ED861DAE}" type="datetimeFigureOut">
              <a:rPr lang="de-DE" smtClean="0"/>
              <a:t>18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F3FE92-1802-41EE-B167-409214DF4AF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2772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3FE92-1802-41EE-B167-409214DF4AFE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505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3FE92-1802-41EE-B167-409214DF4AF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0368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3FE92-1802-41EE-B167-409214DF4AFE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5859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3FE92-1802-41EE-B167-409214DF4AFE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28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3FE92-1802-41EE-B167-409214DF4AFE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4918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1600">
                <a:latin typeface="AvantGarde Bk BT" panose="020B0402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 hasCustomPrompt="1"/>
          </p:nvPr>
        </p:nvSpPr>
        <p:spPr>
          <a:xfrm>
            <a:off x="515937" y="549276"/>
            <a:ext cx="11160125" cy="1057334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  <a:latin typeface="AvantGarde Bk BT" panose="020B0402020202020204" pitchFamily="34" charset="0"/>
                <a:ea typeface="Verdana" panose="020B0604030504040204" pitchFamily="34" charset="0"/>
              </a:defRPr>
            </a:lvl1pPr>
            <a:lvl2pPr>
              <a:defRPr>
                <a:latin typeface="AvantGarde Bk BT" panose="020B0402020202020204" pitchFamily="34" charset="0"/>
                <a:ea typeface="Verdana" panose="020B0604030504040204" pitchFamily="34" charset="0"/>
              </a:defRPr>
            </a:lvl2pPr>
            <a:lvl3pPr>
              <a:defRPr>
                <a:latin typeface="AvantGarde Bk BT" panose="020B0402020202020204" pitchFamily="34" charset="0"/>
                <a:ea typeface="Verdana" panose="020B0604030504040204" pitchFamily="34" charset="0"/>
              </a:defRPr>
            </a:lvl3pPr>
            <a:lvl4pPr>
              <a:defRPr>
                <a:latin typeface="AvantGarde Bk BT" panose="020B0402020202020204" pitchFamily="34" charset="0"/>
                <a:ea typeface="Verdana" panose="020B0604030504040204" pitchFamily="34" charset="0"/>
              </a:defRPr>
            </a:lvl4pPr>
            <a:lvl5pPr>
              <a:defRPr>
                <a:latin typeface="AvantGarde Bk BT" panose="020B040202020202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FARBIGE ÜBERSCHRIFT</a:t>
            </a:r>
          </a:p>
          <a:p>
            <a:pPr lvl="0"/>
            <a:r>
              <a:rPr lang="de-DE" dirty="0"/>
              <a:t>NICHT FARBIGE ÜBERSCHRIFT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30" y="6233527"/>
            <a:ext cx="1535053" cy="14950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8814" y="424812"/>
            <a:ext cx="1427248" cy="248925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515938" y="3546475"/>
            <a:ext cx="11160125" cy="2687052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 sz="1400" baseline="0"/>
            </a:lvl1pPr>
          </a:lstStyle>
          <a:p>
            <a:fld id="{351A0EE1-B564-4BC7-9F42-429FBA12ED94}" type="datetime1">
              <a:rPr lang="de-DE" smtClean="0"/>
              <a:t>18.06.2025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5FEBB84-A833-4D9F-8E64-647D4209DE1B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C7CB40-519A-D823-0B96-51CC0A638C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94583" y="32170"/>
            <a:ext cx="2797416" cy="79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516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7355" userDrawn="1">
          <p15:clr>
            <a:srgbClr val="FBAE40"/>
          </p15:clr>
        </p15:guide>
        <p15:guide id="3" pos="325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  <p15:guide id="6" orient="horz" pos="34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4B24A7-BDE8-4B7F-93C3-66196B90EB91}" type="datetime1">
              <a:rPr lang="de-DE" smtClean="0"/>
              <a:t>18.06.2025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FEBB84-A833-4D9F-8E64-647D4209DE1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8250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29" b="-1"/>
          <a:stretch/>
        </p:blipFill>
        <p:spPr>
          <a:xfrm>
            <a:off x="0" y="0"/>
            <a:ext cx="12192000" cy="5768501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0" y="0"/>
            <a:ext cx="12192000" cy="5768502"/>
          </a:xfrm>
          <a:prstGeom prst="rect">
            <a:avLst/>
          </a:prstGeom>
          <a:solidFill>
            <a:srgbClr val="1A427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515938" y="1648501"/>
            <a:ext cx="5620167" cy="863891"/>
          </a:xfrm>
          <a:custGeom>
            <a:avLst/>
            <a:gdLst>
              <a:gd name="connsiteX0" fmla="*/ 0 w 1856326"/>
              <a:gd name="connsiteY0" fmla="*/ 0 h 399630"/>
              <a:gd name="connsiteX1" fmla="*/ 1856326 w 1856326"/>
              <a:gd name="connsiteY1" fmla="*/ 0 h 399630"/>
              <a:gd name="connsiteX2" fmla="*/ 1856326 w 1856326"/>
              <a:gd name="connsiteY2" fmla="*/ 399630 h 399630"/>
              <a:gd name="connsiteX3" fmla="*/ 0 w 1856326"/>
              <a:gd name="connsiteY3" fmla="*/ 399630 h 399630"/>
              <a:gd name="connsiteX4" fmla="*/ 0 w 1856326"/>
              <a:gd name="connsiteY4" fmla="*/ 0 h 399630"/>
              <a:gd name="connsiteX0" fmla="*/ 69011 w 1925337"/>
              <a:gd name="connsiteY0" fmla="*/ 0 h 434136"/>
              <a:gd name="connsiteX1" fmla="*/ 1925337 w 1925337"/>
              <a:gd name="connsiteY1" fmla="*/ 0 h 434136"/>
              <a:gd name="connsiteX2" fmla="*/ 1925337 w 1925337"/>
              <a:gd name="connsiteY2" fmla="*/ 399630 h 434136"/>
              <a:gd name="connsiteX3" fmla="*/ 0 w 1925337"/>
              <a:gd name="connsiteY3" fmla="*/ 434136 h 434136"/>
              <a:gd name="connsiteX4" fmla="*/ 69011 w 1925337"/>
              <a:gd name="connsiteY4" fmla="*/ 0 h 434136"/>
              <a:gd name="connsiteX0" fmla="*/ 163901 w 1925337"/>
              <a:gd name="connsiteY0" fmla="*/ 0 h 477269"/>
              <a:gd name="connsiteX1" fmla="*/ 1925337 w 1925337"/>
              <a:gd name="connsiteY1" fmla="*/ 43133 h 477269"/>
              <a:gd name="connsiteX2" fmla="*/ 1925337 w 1925337"/>
              <a:gd name="connsiteY2" fmla="*/ 442763 h 477269"/>
              <a:gd name="connsiteX3" fmla="*/ 0 w 1925337"/>
              <a:gd name="connsiteY3" fmla="*/ 477269 h 477269"/>
              <a:gd name="connsiteX4" fmla="*/ 163901 w 1925337"/>
              <a:gd name="connsiteY4" fmla="*/ 0 h 477269"/>
              <a:gd name="connsiteX0" fmla="*/ 163901 w 1925337"/>
              <a:gd name="connsiteY0" fmla="*/ 112143 h 589412"/>
              <a:gd name="connsiteX1" fmla="*/ 1925337 w 1925337"/>
              <a:gd name="connsiteY1" fmla="*/ 0 h 589412"/>
              <a:gd name="connsiteX2" fmla="*/ 1925337 w 1925337"/>
              <a:gd name="connsiteY2" fmla="*/ 554906 h 589412"/>
              <a:gd name="connsiteX3" fmla="*/ 0 w 1925337"/>
              <a:gd name="connsiteY3" fmla="*/ 589412 h 589412"/>
              <a:gd name="connsiteX4" fmla="*/ 163901 w 1925337"/>
              <a:gd name="connsiteY4" fmla="*/ 112143 h 589412"/>
              <a:gd name="connsiteX0" fmla="*/ 163901 w 1925337"/>
              <a:gd name="connsiteY0" fmla="*/ 0 h 477269"/>
              <a:gd name="connsiteX1" fmla="*/ 1804567 w 1925337"/>
              <a:gd name="connsiteY1" fmla="*/ 0 h 477269"/>
              <a:gd name="connsiteX2" fmla="*/ 1925337 w 1925337"/>
              <a:gd name="connsiteY2" fmla="*/ 442763 h 477269"/>
              <a:gd name="connsiteX3" fmla="*/ 0 w 1925337"/>
              <a:gd name="connsiteY3" fmla="*/ 477269 h 477269"/>
              <a:gd name="connsiteX4" fmla="*/ 163901 w 1925337"/>
              <a:gd name="connsiteY4" fmla="*/ 0 h 477269"/>
              <a:gd name="connsiteX0" fmla="*/ 155275 w 1925337"/>
              <a:gd name="connsiteY0" fmla="*/ 69011 h 477269"/>
              <a:gd name="connsiteX1" fmla="*/ 1804567 w 1925337"/>
              <a:gd name="connsiteY1" fmla="*/ 0 h 477269"/>
              <a:gd name="connsiteX2" fmla="*/ 1925337 w 1925337"/>
              <a:gd name="connsiteY2" fmla="*/ 442763 h 477269"/>
              <a:gd name="connsiteX3" fmla="*/ 0 w 1925337"/>
              <a:gd name="connsiteY3" fmla="*/ 477269 h 477269"/>
              <a:gd name="connsiteX4" fmla="*/ 155275 w 1925337"/>
              <a:gd name="connsiteY4" fmla="*/ 69011 h 477269"/>
              <a:gd name="connsiteX0" fmla="*/ 94890 w 1864952"/>
              <a:gd name="connsiteY0" fmla="*/ 69011 h 451390"/>
              <a:gd name="connsiteX1" fmla="*/ 1744182 w 1864952"/>
              <a:gd name="connsiteY1" fmla="*/ 0 h 451390"/>
              <a:gd name="connsiteX2" fmla="*/ 1864952 w 1864952"/>
              <a:gd name="connsiteY2" fmla="*/ 442763 h 451390"/>
              <a:gd name="connsiteX3" fmla="*/ 0 w 1864952"/>
              <a:gd name="connsiteY3" fmla="*/ 451390 h 451390"/>
              <a:gd name="connsiteX4" fmla="*/ 94890 w 1864952"/>
              <a:gd name="connsiteY4" fmla="*/ 69011 h 451390"/>
              <a:gd name="connsiteX0" fmla="*/ 94890 w 1830446"/>
              <a:gd name="connsiteY0" fmla="*/ 69011 h 494522"/>
              <a:gd name="connsiteX1" fmla="*/ 1744182 w 1830446"/>
              <a:gd name="connsiteY1" fmla="*/ 0 h 494522"/>
              <a:gd name="connsiteX2" fmla="*/ 1830446 w 1830446"/>
              <a:gd name="connsiteY2" fmla="*/ 494522 h 494522"/>
              <a:gd name="connsiteX3" fmla="*/ 0 w 1830446"/>
              <a:gd name="connsiteY3" fmla="*/ 451390 h 494522"/>
              <a:gd name="connsiteX4" fmla="*/ 94890 w 1830446"/>
              <a:gd name="connsiteY4" fmla="*/ 69011 h 494522"/>
              <a:gd name="connsiteX0" fmla="*/ 94890 w 2770725"/>
              <a:gd name="connsiteY0" fmla="*/ 8626 h 434137"/>
              <a:gd name="connsiteX1" fmla="*/ 2770725 w 2770725"/>
              <a:gd name="connsiteY1" fmla="*/ 0 h 434137"/>
              <a:gd name="connsiteX2" fmla="*/ 1830446 w 2770725"/>
              <a:gd name="connsiteY2" fmla="*/ 434137 h 434137"/>
              <a:gd name="connsiteX3" fmla="*/ 0 w 2770725"/>
              <a:gd name="connsiteY3" fmla="*/ 391005 h 434137"/>
              <a:gd name="connsiteX4" fmla="*/ 94890 w 2770725"/>
              <a:gd name="connsiteY4" fmla="*/ 8626 h 434137"/>
              <a:gd name="connsiteX0" fmla="*/ 94890 w 2839736"/>
              <a:gd name="connsiteY0" fmla="*/ 8626 h 408257"/>
              <a:gd name="connsiteX1" fmla="*/ 2770725 w 2839736"/>
              <a:gd name="connsiteY1" fmla="*/ 0 h 408257"/>
              <a:gd name="connsiteX2" fmla="*/ 2839736 w 2839736"/>
              <a:gd name="connsiteY2" fmla="*/ 408257 h 408257"/>
              <a:gd name="connsiteX3" fmla="*/ 0 w 2839736"/>
              <a:gd name="connsiteY3" fmla="*/ 391005 h 408257"/>
              <a:gd name="connsiteX4" fmla="*/ 94890 w 2839736"/>
              <a:gd name="connsiteY4" fmla="*/ 8626 h 408257"/>
              <a:gd name="connsiteX0" fmla="*/ 94890 w 2822484"/>
              <a:gd name="connsiteY0" fmla="*/ 8626 h 442763"/>
              <a:gd name="connsiteX1" fmla="*/ 2770725 w 2822484"/>
              <a:gd name="connsiteY1" fmla="*/ 0 h 442763"/>
              <a:gd name="connsiteX2" fmla="*/ 2822484 w 2822484"/>
              <a:gd name="connsiteY2" fmla="*/ 442763 h 442763"/>
              <a:gd name="connsiteX3" fmla="*/ 0 w 2822484"/>
              <a:gd name="connsiteY3" fmla="*/ 391005 h 442763"/>
              <a:gd name="connsiteX4" fmla="*/ 94890 w 2822484"/>
              <a:gd name="connsiteY4" fmla="*/ 8626 h 442763"/>
              <a:gd name="connsiteX0" fmla="*/ 94890 w 2822484"/>
              <a:gd name="connsiteY0" fmla="*/ 8626 h 442763"/>
              <a:gd name="connsiteX1" fmla="*/ 2770725 w 2822484"/>
              <a:gd name="connsiteY1" fmla="*/ 0 h 442763"/>
              <a:gd name="connsiteX2" fmla="*/ 2822484 w 2822484"/>
              <a:gd name="connsiteY2" fmla="*/ 442763 h 442763"/>
              <a:gd name="connsiteX3" fmla="*/ 0 w 2822484"/>
              <a:gd name="connsiteY3" fmla="*/ 382378 h 442763"/>
              <a:gd name="connsiteX4" fmla="*/ 94890 w 2822484"/>
              <a:gd name="connsiteY4" fmla="*/ 8626 h 442763"/>
              <a:gd name="connsiteX0" fmla="*/ 94890 w 2796605"/>
              <a:gd name="connsiteY0" fmla="*/ 8626 h 434137"/>
              <a:gd name="connsiteX1" fmla="*/ 2770725 w 2796605"/>
              <a:gd name="connsiteY1" fmla="*/ 0 h 434137"/>
              <a:gd name="connsiteX2" fmla="*/ 2796605 w 2796605"/>
              <a:gd name="connsiteY2" fmla="*/ 434137 h 434137"/>
              <a:gd name="connsiteX3" fmla="*/ 0 w 2796605"/>
              <a:gd name="connsiteY3" fmla="*/ 382378 h 434137"/>
              <a:gd name="connsiteX4" fmla="*/ 94890 w 2796605"/>
              <a:gd name="connsiteY4" fmla="*/ 8626 h 434137"/>
              <a:gd name="connsiteX0" fmla="*/ 94890 w 2796605"/>
              <a:gd name="connsiteY0" fmla="*/ 0 h 425511"/>
              <a:gd name="connsiteX1" fmla="*/ 2572318 w 2796605"/>
              <a:gd name="connsiteY1" fmla="*/ 0 h 425511"/>
              <a:gd name="connsiteX2" fmla="*/ 2796605 w 2796605"/>
              <a:gd name="connsiteY2" fmla="*/ 425511 h 425511"/>
              <a:gd name="connsiteX3" fmla="*/ 0 w 2796605"/>
              <a:gd name="connsiteY3" fmla="*/ 373752 h 425511"/>
              <a:gd name="connsiteX4" fmla="*/ 94890 w 2796605"/>
              <a:gd name="connsiteY4" fmla="*/ 0 h 425511"/>
              <a:gd name="connsiteX0" fmla="*/ 94890 w 2649956"/>
              <a:gd name="connsiteY0" fmla="*/ 0 h 391005"/>
              <a:gd name="connsiteX1" fmla="*/ 2572318 w 2649956"/>
              <a:gd name="connsiteY1" fmla="*/ 0 h 391005"/>
              <a:gd name="connsiteX2" fmla="*/ 2649956 w 2649956"/>
              <a:gd name="connsiteY2" fmla="*/ 391005 h 391005"/>
              <a:gd name="connsiteX3" fmla="*/ 0 w 2649956"/>
              <a:gd name="connsiteY3" fmla="*/ 373752 h 391005"/>
              <a:gd name="connsiteX4" fmla="*/ 94890 w 2649956"/>
              <a:gd name="connsiteY4" fmla="*/ 0 h 391005"/>
              <a:gd name="connsiteX0" fmla="*/ 43132 w 2598198"/>
              <a:gd name="connsiteY0" fmla="*/ 0 h 408257"/>
              <a:gd name="connsiteX1" fmla="*/ 2520560 w 2598198"/>
              <a:gd name="connsiteY1" fmla="*/ 0 h 408257"/>
              <a:gd name="connsiteX2" fmla="*/ 2598198 w 2598198"/>
              <a:gd name="connsiteY2" fmla="*/ 391005 h 408257"/>
              <a:gd name="connsiteX3" fmla="*/ 0 w 2598198"/>
              <a:gd name="connsiteY3" fmla="*/ 408257 h 408257"/>
              <a:gd name="connsiteX4" fmla="*/ 43132 w 2598198"/>
              <a:gd name="connsiteY4" fmla="*/ 0 h 408257"/>
              <a:gd name="connsiteX0" fmla="*/ 43132 w 2960508"/>
              <a:gd name="connsiteY0" fmla="*/ 8626 h 416883"/>
              <a:gd name="connsiteX1" fmla="*/ 2960508 w 2960508"/>
              <a:gd name="connsiteY1" fmla="*/ 0 h 416883"/>
              <a:gd name="connsiteX2" fmla="*/ 2598198 w 2960508"/>
              <a:gd name="connsiteY2" fmla="*/ 399631 h 416883"/>
              <a:gd name="connsiteX3" fmla="*/ 0 w 2960508"/>
              <a:gd name="connsiteY3" fmla="*/ 416883 h 416883"/>
              <a:gd name="connsiteX4" fmla="*/ 43132 w 2960508"/>
              <a:gd name="connsiteY4" fmla="*/ 8626 h 416883"/>
              <a:gd name="connsiteX0" fmla="*/ 43132 w 2960508"/>
              <a:gd name="connsiteY0" fmla="*/ 8626 h 416883"/>
              <a:gd name="connsiteX1" fmla="*/ 2960508 w 2960508"/>
              <a:gd name="connsiteY1" fmla="*/ 0 h 416883"/>
              <a:gd name="connsiteX2" fmla="*/ 2882870 w 2960508"/>
              <a:gd name="connsiteY2" fmla="*/ 408257 h 416883"/>
              <a:gd name="connsiteX3" fmla="*/ 0 w 2960508"/>
              <a:gd name="connsiteY3" fmla="*/ 416883 h 416883"/>
              <a:gd name="connsiteX4" fmla="*/ 43132 w 2960508"/>
              <a:gd name="connsiteY4" fmla="*/ 8626 h 416883"/>
              <a:gd name="connsiteX0" fmla="*/ 0 w 2995014"/>
              <a:gd name="connsiteY0" fmla="*/ 25879 h 416883"/>
              <a:gd name="connsiteX1" fmla="*/ 2995014 w 2995014"/>
              <a:gd name="connsiteY1" fmla="*/ 0 h 416883"/>
              <a:gd name="connsiteX2" fmla="*/ 2917376 w 2995014"/>
              <a:gd name="connsiteY2" fmla="*/ 408257 h 416883"/>
              <a:gd name="connsiteX3" fmla="*/ 34506 w 2995014"/>
              <a:gd name="connsiteY3" fmla="*/ 416883 h 416883"/>
              <a:gd name="connsiteX4" fmla="*/ 0 w 2995014"/>
              <a:gd name="connsiteY4" fmla="*/ 25879 h 416883"/>
              <a:gd name="connsiteX0" fmla="*/ 0 w 2995014"/>
              <a:gd name="connsiteY0" fmla="*/ 25879 h 416883"/>
              <a:gd name="connsiteX1" fmla="*/ 2995014 w 2995014"/>
              <a:gd name="connsiteY1" fmla="*/ 0 h 416883"/>
              <a:gd name="connsiteX2" fmla="*/ 2917376 w 2995014"/>
              <a:gd name="connsiteY2" fmla="*/ 408257 h 416883"/>
              <a:gd name="connsiteX3" fmla="*/ 60385 w 2995014"/>
              <a:gd name="connsiteY3" fmla="*/ 416883 h 416883"/>
              <a:gd name="connsiteX4" fmla="*/ 0 w 2995014"/>
              <a:gd name="connsiteY4" fmla="*/ 25879 h 416883"/>
              <a:gd name="connsiteX0" fmla="*/ 25879 w 3020893"/>
              <a:gd name="connsiteY0" fmla="*/ 25879 h 434136"/>
              <a:gd name="connsiteX1" fmla="*/ 3020893 w 3020893"/>
              <a:gd name="connsiteY1" fmla="*/ 0 h 434136"/>
              <a:gd name="connsiteX2" fmla="*/ 2943255 w 3020893"/>
              <a:gd name="connsiteY2" fmla="*/ 408257 h 434136"/>
              <a:gd name="connsiteX3" fmla="*/ 0 w 3020893"/>
              <a:gd name="connsiteY3" fmla="*/ 434136 h 434136"/>
              <a:gd name="connsiteX4" fmla="*/ 25879 w 3020893"/>
              <a:gd name="connsiteY4" fmla="*/ 25879 h 434136"/>
              <a:gd name="connsiteX0" fmla="*/ 51759 w 3020893"/>
              <a:gd name="connsiteY0" fmla="*/ 25879 h 434136"/>
              <a:gd name="connsiteX1" fmla="*/ 3020893 w 3020893"/>
              <a:gd name="connsiteY1" fmla="*/ 0 h 434136"/>
              <a:gd name="connsiteX2" fmla="*/ 2943255 w 3020893"/>
              <a:gd name="connsiteY2" fmla="*/ 408257 h 434136"/>
              <a:gd name="connsiteX3" fmla="*/ 0 w 3020893"/>
              <a:gd name="connsiteY3" fmla="*/ 434136 h 434136"/>
              <a:gd name="connsiteX4" fmla="*/ 51759 w 3020893"/>
              <a:gd name="connsiteY4" fmla="*/ 25879 h 434136"/>
              <a:gd name="connsiteX0" fmla="*/ 51759 w 2943255"/>
              <a:gd name="connsiteY0" fmla="*/ 34505 h 442762"/>
              <a:gd name="connsiteX1" fmla="*/ 1554403 w 2943255"/>
              <a:gd name="connsiteY1" fmla="*/ 0 h 442762"/>
              <a:gd name="connsiteX2" fmla="*/ 2943255 w 2943255"/>
              <a:gd name="connsiteY2" fmla="*/ 416883 h 442762"/>
              <a:gd name="connsiteX3" fmla="*/ 0 w 2943255"/>
              <a:gd name="connsiteY3" fmla="*/ 442762 h 442762"/>
              <a:gd name="connsiteX4" fmla="*/ 51759 w 2943255"/>
              <a:gd name="connsiteY4" fmla="*/ 34505 h 442762"/>
              <a:gd name="connsiteX0" fmla="*/ 51759 w 1571655"/>
              <a:gd name="connsiteY0" fmla="*/ 34505 h 442762"/>
              <a:gd name="connsiteX1" fmla="*/ 1554403 w 1571655"/>
              <a:gd name="connsiteY1" fmla="*/ 0 h 442762"/>
              <a:gd name="connsiteX2" fmla="*/ 1571655 w 1571655"/>
              <a:gd name="connsiteY2" fmla="*/ 425509 h 442762"/>
              <a:gd name="connsiteX3" fmla="*/ 0 w 1571655"/>
              <a:gd name="connsiteY3" fmla="*/ 442762 h 442762"/>
              <a:gd name="connsiteX4" fmla="*/ 51759 w 1571655"/>
              <a:gd name="connsiteY4" fmla="*/ 34505 h 442762"/>
              <a:gd name="connsiteX0" fmla="*/ 0 w 1519896"/>
              <a:gd name="connsiteY0" fmla="*/ 34505 h 434136"/>
              <a:gd name="connsiteX1" fmla="*/ 1502644 w 1519896"/>
              <a:gd name="connsiteY1" fmla="*/ 0 h 434136"/>
              <a:gd name="connsiteX2" fmla="*/ 1519896 w 1519896"/>
              <a:gd name="connsiteY2" fmla="*/ 425509 h 434136"/>
              <a:gd name="connsiteX3" fmla="*/ 34505 w 1519896"/>
              <a:gd name="connsiteY3" fmla="*/ 434136 h 434136"/>
              <a:gd name="connsiteX4" fmla="*/ 0 w 1519896"/>
              <a:gd name="connsiteY4" fmla="*/ 34505 h 434136"/>
              <a:gd name="connsiteX0" fmla="*/ 0 w 3288312"/>
              <a:gd name="connsiteY0" fmla="*/ 60385 h 460016"/>
              <a:gd name="connsiteX1" fmla="*/ 3288312 w 3288312"/>
              <a:gd name="connsiteY1" fmla="*/ 0 h 460016"/>
              <a:gd name="connsiteX2" fmla="*/ 1519896 w 3288312"/>
              <a:gd name="connsiteY2" fmla="*/ 451389 h 460016"/>
              <a:gd name="connsiteX3" fmla="*/ 34505 w 3288312"/>
              <a:gd name="connsiteY3" fmla="*/ 460016 h 460016"/>
              <a:gd name="connsiteX4" fmla="*/ 0 w 3288312"/>
              <a:gd name="connsiteY4" fmla="*/ 60385 h 460016"/>
              <a:gd name="connsiteX0" fmla="*/ 0 w 3322817"/>
              <a:gd name="connsiteY0" fmla="*/ 60385 h 460016"/>
              <a:gd name="connsiteX1" fmla="*/ 3288312 w 3322817"/>
              <a:gd name="connsiteY1" fmla="*/ 0 h 460016"/>
              <a:gd name="connsiteX2" fmla="*/ 3322817 w 3322817"/>
              <a:gd name="connsiteY2" fmla="*/ 434136 h 460016"/>
              <a:gd name="connsiteX3" fmla="*/ 34505 w 3322817"/>
              <a:gd name="connsiteY3" fmla="*/ 460016 h 460016"/>
              <a:gd name="connsiteX4" fmla="*/ 0 w 3322817"/>
              <a:gd name="connsiteY4" fmla="*/ 60385 h 460016"/>
              <a:gd name="connsiteX0" fmla="*/ 0 w 3322817"/>
              <a:gd name="connsiteY0" fmla="*/ 0 h 520401"/>
              <a:gd name="connsiteX1" fmla="*/ 3288312 w 3322817"/>
              <a:gd name="connsiteY1" fmla="*/ 60385 h 520401"/>
              <a:gd name="connsiteX2" fmla="*/ 3322817 w 3322817"/>
              <a:gd name="connsiteY2" fmla="*/ 494521 h 520401"/>
              <a:gd name="connsiteX3" fmla="*/ 34505 w 3322817"/>
              <a:gd name="connsiteY3" fmla="*/ 520401 h 520401"/>
              <a:gd name="connsiteX4" fmla="*/ 0 w 3322817"/>
              <a:gd name="connsiteY4" fmla="*/ 0 h 520401"/>
              <a:gd name="connsiteX0" fmla="*/ 0 w 3331444"/>
              <a:gd name="connsiteY0" fmla="*/ 0 h 477269"/>
              <a:gd name="connsiteX1" fmla="*/ 3296939 w 3331444"/>
              <a:gd name="connsiteY1" fmla="*/ 17253 h 477269"/>
              <a:gd name="connsiteX2" fmla="*/ 3331444 w 3331444"/>
              <a:gd name="connsiteY2" fmla="*/ 451389 h 477269"/>
              <a:gd name="connsiteX3" fmla="*/ 43132 w 3331444"/>
              <a:gd name="connsiteY3" fmla="*/ 477269 h 477269"/>
              <a:gd name="connsiteX4" fmla="*/ 0 w 3331444"/>
              <a:gd name="connsiteY4" fmla="*/ 0 h 477269"/>
              <a:gd name="connsiteX0" fmla="*/ 0 w 3331444"/>
              <a:gd name="connsiteY0" fmla="*/ 0 h 477269"/>
              <a:gd name="connsiteX1" fmla="*/ 3296939 w 3331444"/>
              <a:gd name="connsiteY1" fmla="*/ 60386 h 477269"/>
              <a:gd name="connsiteX2" fmla="*/ 3331444 w 3331444"/>
              <a:gd name="connsiteY2" fmla="*/ 451389 h 477269"/>
              <a:gd name="connsiteX3" fmla="*/ 43132 w 3331444"/>
              <a:gd name="connsiteY3" fmla="*/ 477269 h 477269"/>
              <a:gd name="connsiteX4" fmla="*/ 0 w 3331444"/>
              <a:gd name="connsiteY4" fmla="*/ 0 h 477269"/>
              <a:gd name="connsiteX0" fmla="*/ 0 w 3314191"/>
              <a:gd name="connsiteY0" fmla="*/ 0 h 477269"/>
              <a:gd name="connsiteX1" fmla="*/ 3296939 w 3314191"/>
              <a:gd name="connsiteY1" fmla="*/ 60386 h 477269"/>
              <a:gd name="connsiteX2" fmla="*/ 3314191 w 3314191"/>
              <a:gd name="connsiteY2" fmla="*/ 416883 h 477269"/>
              <a:gd name="connsiteX3" fmla="*/ 43132 w 3314191"/>
              <a:gd name="connsiteY3" fmla="*/ 477269 h 477269"/>
              <a:gd name="connsiteX4" fmla="*/ 0 w 3314191"/>
              <a:gd name="connsiteY4" fmla="*/ 0 h 477269"/>
              <a:gd name="connsiteX0" fmla="*/ 0 w 3314191"/>
              <a:gd name="connsiteY0" fmla="*/ 0 h 442763"/>
              <a:gd name="connsiteX1" fmla="*/ 3296939 w 3314191"/>
              <a:gd name="connsiteY1" fmla="*/ 25880 h 442763"/>
              <a:gd name="connsiteX2" fmla="*/ 3314191 w 3314191"/>
              <a:gd name="connsiteY2" fmla="*/ 382377 h 442763"/>
              <a:gd name="connsiteX3" fmla="*/ 43132 w 3314191"/>
              <a:gd name="connsiteY3" fmla="*/ 442763 h 442763"/>
              <a:gd name="connsiteX4" fmla="*/ 0 w 3314191"/>
              <a:gd name="connsiteY4" fmla="*/ 0 h 442763"/>
              <a:gd name="connsiteX0" fmla="*/ 0 w 3296939"/>
              <a:gd name="connsiteY0" fmla="*/ 0 h 443337"/>
              <a:gd name="connsiteX1" fmla="*/ 3296939 w 3296939"/>
              <a:gd name="connsiteY1" fmla="*/ 25880 h 443337"/>
              <a:gd name="connsiteX2" fmla="*/ 2469460 w 3296939"/>
              <a:gd name="connsiteY2" fmla="*/ 443337 h 443337"/>
              <a:gd name="connsiteX3" fmla="*/ 43132 w 3296939"/>
              <a:gd name="connsiteY3" fmla="*/ 442763 h 443337"/>
              <a:gd name="connsiteX4" fmla="*/ 0 w 3296939"/>
              <a:gd name="connsiteY4" fmla="*/ 0 h 443337"/>
              <a:gd name="connsiteX0" fmla="*/ 0 w 2469625"/>
              <a:gd name="connsiteY0" fmla="*/ 17663 h 461000"/>
              <a:gd name="connsiteX1" fmla="*/ 2469625 w 2469625"/>
              <a:gd name="connsiteY1" fmla="*/ 0 h 461000"/>
              <a:gd name="connsiteX2" fmla="*/ 2469460 w 2469625"/>
              <a:gd name="connsiteY2" fmla="*/ 461000 h 461000"/>
              <a:gd name="connsiteX3" fmla="*/ 43132 w 2469625"/>
              <a:gd name="connsiteY3" fmla="*/ 460426 h 461000"/>
              <a:gd name="connsiteX4" fmla="*/ 0 w 2469625"/>
              <a:gd name="connsiteY4" fmla="*/ 17663 h 461000"/>
              <a:gd name="connsiteX0" fmla="*/ 0 w 2469460"/>
              <a:gd name="connsiteY0" fmla="*/ 61206 h 504543"/>
              <a:gd name="connsiteX1" fmla="*/ 2426083 w 2469460"/>
              <a:gd name="connsiteY1" fmla="*/ 0 h 504543"/>
              <a:gd name="connsiteX2" fmla="*/ 2469460 w 2469460"/>
              <a:gd name="connsiteY2" fmla="*/ 504543 h 504543"/>
              <a:gd name="connsiteX3" fmla="*/ 43132 w 2469460"/>
              <a:gd name="connsiteY3" fmla="*/ 503969 h 504543"/>
              <a:gd name="connsiteX4" fmla="*/ 0 w 2469460"/>
              <a:gd name="connsiteY4" fmla="*/ 61206 h 504543"/>
              <a:gd name="connsiteX0" fmla="*/ 0 w 3351634"/>
              <a:gd name="connsiteY0" fmla="*/ 61206 h 504543"/>
              <a:gd name="connsiteX1" fmla="*/ 3351634 w 3351634"/>
              <a:gd name="connsiteY1" fmla="*/ 0 h 504543"/>
              <a:gd name="connsiteX2" fmla="*/ 2469460 w 3351634"/>
              <a:gd name="connsiteY2" fmla="*/ 504543 h 504543"/>
              <a:gd name="connsiteX3" fmla="*/ 43132 w 3351634"/>
              <a:gd name="connsiteY3" fmla="*/ 503969 h 504543"/>
              <a:gd name="connsiteX4" fmla="*/ 0 w 3351634"/>
              <a:gd name="connsiteY4" fmla="*/ 61206 h 504543"/>
              <a:gd name="connsiteX0" fmla="*/ 0 w 3351634"/>
              <a:gd name="connsiteY0" fmla="*/ 61206 h 503969"/>
              <a:gd name="connsiteX1" fmla="*/ 3351634 w 3351634"/>
              <a:gd name="connsiteY1" fmla="*/ 0 h 503969"/>
              <a:gd name="connsiteX2" fmla="*/ 3127382 w 3351634"/>
              <a:gd name="connsiteY2" fmla="*/ 459938 h 503969"/>
              <a:gd name="connsiteX3" fmla="*/ 43132 w 3351634"/>
              <a:gd name="connsiteY3" fmla="*/ 503969 h 503969"/>
              <a:gd name="connsiteX4" fmla="*/ 0 w 3351634"/>
              <a:gd name="connsiteY4" fmla="*/ 61206 h 503969"/>
              <a:gd name="connsiteX0" fmla="*/ 0 w 3487306"/>
              <a:gd name="connsiteY0" fmla="*/ 61206 h 503969"/>
              <a:gd name="connsiteX1" fmla="*/ 3351634 w 3487306"/>
              <a:gd name="connsiteY1" fmla="*/ 0 h 503969"/>
              <a:gd name="connsiteX2" fmla="*/ 3487306 w 3487306"/>
              <a:gd name="connsiteY2" fmla="*/ 450210 h 503969"/>
              <a:gd name="connsiteX3" fmla="*/ 43132 w 3487306"/>
              <a:gd name="connsiteY3" fmla="*/ 503969 h 503969"/>
              <a:gd name="connsiteX4" fmla="*/ 0 w 3487306"/>
              <a:gd name="connsiteY4" fmla="*/ 61206 h 503969"/>
              <a:gd name="connsiteX0" fmla="*/ 0 w 3487306"/>
              <a:gd name="connsiteY0" fmla="*/ 61206 h 503969"/>
              <a:gd name="connsiteX1" fmla="*/ 3448911 w 3487306"/>
              <a:gd name="connsiteY1" fmla="*/ 0 h 503969"/>
              <a:gd name="connsiteX2" fmla="*/ 3487306 w 3487306"/>
              <a:gd name="connsiteY2" fmla="*/ 450210 h 503969"/>
              <a:gd name="connsiteX3" fmla="*/ 43132 w 3487306"/>
              <a:gd name="connsiteY3" fmla="*/ 503969 h 503969"/>
              <a:gd name="connsiteX4" fmla="*/ 0 w 3487306"/>
              <a:gd name="connsiteY4" fmla="*/ 61206 h 503969"/>
              <a:gd name="connsiteX0" fmla="*/ 0 w 3477578"/>
              <a:gd name="connsiteY0" fmla="*/ 61206 h 503969"/>
              <a:gd name="connsiteX1" fmla="*/ 3448911 w 3477578"/>
              <a:gd name="connsiteY1" fmla="*/ 0 h 503969"/>
              <a:gd name="connsiteX2" fmla="*/ 3477578 w 3477578"/>
              <a:gd name="connsiteY2" fmla="*/ 479393 h 503969"/>
              <a:gd name="connsiteX3" fmla="*/ 43132 w 3477578"/>
              <a:gd name="connsiteY3" fmla="*/ 503969 h 503969"/>
              <a:gd name="connsiteX4" fmla="*/ 0 w 3477578"/>
              <a:gd name="connsiteY4" fmla="*/ 61206 h 503969"/>
              <a:gd name="connsiteX0" fmla="*/ 0 w 3448911"/>
              <a:gd name="connsiteY0" fmla="*/ 61206 h 503969"/>
              <a:gd name="connsiteX1" fmla="*/ 3448911 w 3448911"/>
              <a:gd name="connsiteY1" fmla="*/ 0 h 503969"/>
              <a:gd name="connsiteX2" fmla="*/ 2086523 w 3448911"/>
              <a:gd name="connsiteY2" fmla="*/ 489120 h 503969"/>
              <a:gd name="connsiteX3" fmla="*/ 43132 w 3448911"/>
              <a:gd name="connsiteY3" fmla="*/ 503969 h 503969"/>
              <a:gd name="connsiteX4" fmla="*/ 0 w 3448911"/>
              <a:gd name="connsiteY4" fmla="*/ 61206 h 503969"/>
              <a:gd name="connsiteX0" fmla="*/ 0 w 2125950"/>
              <a:gd name="connsiteY0" fmla="*/ 32023 h 474786"/>
              <a:gd name="connsiteX1" fmla="*/ 2125950 w 2125950"/>
              <a:gd name="connsiteY1" fmla="*/ 0 h 474786"/>
              <a:gd name="connsiteX2" fmla="*/ 2086523 w 2125950"/>
              <a:gd name="connsiteY2" fmla="*/ 459937 h 474786"/>
              <a:gd name="connsiteX3" fmla="*/ 43132 w 2125950"/>
              <a:gd name="connsiteY3" fmla="*/ 474786 h 474786"/>
              <a:gd name="connsiteX4" fmla="*/ 0 w 2125950"/>
              <a:gd name="connsiteY4" fmla="*/ 32023 h 474786"/>
              <a:gd name="connsiteX0" fmla="*/ 0 w 2125950"/>
              <a:gd name="connsiteY0" fmla="*/ 0 h 510857"/>
              <a:gd name="connsiteX1" fmla="*/ 2125950 w 2125950"/>
              <a:gd name="connsiteY1" fmla="*/ 36071 h 510857"/>
              <a:gd name="connsiteX2" fmla="*/ 2086523 w 2125950"/>
              <a:gd name="connsiteY2" fmla="*/ 496008 h 510857"/>
              <a:gd name="connsiteX3" fmla="*/ 43132 w 2125950"/>
              <a:gd name="connsiteY3" fmla="*/ 510857 h 510857"/>
              <a:gd name="connsiteX4" fmla="*/ 0 w 2125950"/>
              <a:gd name="connsiteY4" fmla="*/ 0 h 510857"/>
              <a:gd name="connsiteX0" fmla="*/ 63873 w 2189823"/>
              <a:gd name="connsiteY0" fmla="*/ 0 h 501130"/>
              <a:gd name="connsiteX1" fmla="*/ 2189823 w 2189823"/>
              <a:gd name="connsiteY1" fmla="*/ 36071 h 501130"/>
              <a:gd name="connsiteX2" fmla="*/ 2150396 w 2189823"/>
              <a:gd name="connsiteY2" fmla="*/ 496008 h 501130"/>
              <a:gd name="connsiteX3" fmla="*/ 0 w 2189823"/>
              <a:gd name="connsiteY3" fmla="*/ 501130 h 501130"/>
              <a:gd name="connsiteX4" fmla="*/ 63873 w 2189823"/>
              <a:gd name="connsiteY4" fmla="*/ 0 h 501130"/>
              <a:gd name="connsiteX0" fmla="*/ 63873 w 2150396"/>
              <a:gd name="connsiteY0" fmla="*/ 0 h 501130"/>
              <a:gd name="connsiteX1" fmla="*/ 2102274 w 2150396"/>
              <a:gd name="connsiteY1" fmla="*/ 94437 h 501130"/>
              <a:gd name="connsiteX2" fmla="*/ 2150396 w 2150396"/>
              <a:gd name="connsiteY2" fmla="*/ 496008 h 501130"/>
              <a:gd name="connsiteX3" fmla="*/ 0 w 2150396"/>
              <a:gd name="connsiteY3" fmla="*/ 501130 h 501130"/>
              <a:gd name="connsiteX4" fmla="*/ 63873 w 2150396"/>
              <a:gd name="connsiteY4" fmla="*/ 0 h 501130"/>
              <a:gd name="connsiteX0" fmla="*/ 63873 w 3833798"/>
              <a:gd name="connsiteY0" fmla="*/ 0 h 501130"/>
              <a:gd name="connsiteX1" fmla="*/ 3833798 w 3833798"/>
              <a:gd name="connsiteY1" fmla="*/ 6888 h 501130"/>
              <a:gd name="connsiteX2" fmla="*/ 2150396 w 3833798"/>
              <a:gd name="connsiteY2" fmla="*/ 496008 h 501130"/>
              <a:gd name="connsiteX3" fmla="*/ 0 w 3833798"/>
              <a:gd name="connsiteY3" fmla="*/ 501130 h 501130"/>
              <a:gd name="connsiteX4" fmla="*/ 63873 w 3833798"/>
              <a:gd name="connsiteY4" fmla="*/ 0 h 501130"/>
              <a:gd name="connsiteX0" fmla="*/ 63873 w 3833798"/>
              <a:gd name="connsiteY0" fmla="*/ 0 h 544647"/>
              <a:gd name="connsiteX1" fmla="*/ 3833798 w 3833798"/>
              <a:gd name="connsiteY1" fmla="*/ 6888 h 544647"/>
              <a:gd name="connsiteX2" fmla="*/ 3609545 w 3833798"/>
              <a:gd name="connsiteY2" fmla="*/ 544647 h 544647"/>
              <a:gd name="connsiteX3" fmla="*/ 0 w 3833798"/>
              <a:gd name="connsiteY3" fmla="*/ 501130 h 544647"/>
              <a:gd name="connsiteX4" fmla="*/ 63873 w 3833798"/>
              <a:gd name="connsiteY4" fmla="*/ 0 h 544647"/>
              <a:gd name="connsiteX0" fmla="*/ 24962 w 3794887"/>
              <a:gd name="connsiteY0" fmla="*/ 0 h 544647"/>
              <a:gd name="connsiteX1" fmla="*/ 3794887 w 3794887"/>
              <a:gd name="connsiteY1" fmla="*/ 6888 h 544647"/>
              <a:gd name="connsiteX2" fmla="*/ 3570634 w 3794887"/>
              <a:gd name="connsiteY2" fmla="*/ 544647 h 544647"/>
              <a:gd name="connsiteX3" fmla="*/ 0 w 3794887"/>
              <a:gd name="connsiteY3" fmla="*/ 471947 h 544647"/>
              <a:gd name="connsiteX4" fmla="*/ 24962 w 3794887"/>
              <a:gd name="connsiteY4" fmla="*/ 0 h 544647"/>
              <a:gd name="connsiteX0" fmla="*/ 34689 w 3794887"/>
              <a:gd name="connsiteY0" fmla="*/ 32023 h 537759"/>
              <a:gd name="connsiteX1" fmla="*/ 3794887 w 3794887"/>
              <a:gd name="connsiteY1" fmla="*/ 0 h 537759"/>
              <a:gd name="connsiteX2" fmla="*/ 3570634 w 3794887"/>
              <a:gd name="connsiteY2" fmla="*/ 537759 h 537759"/>
              <a:gd name="connsiteX3" fmla="*/ 0 w 3794887"/>
              <a:gd name="connsiteY3" fmla="*/ 465059 h 537759"/>
              <a:gd name="connsiteX4" fmla="*/ 34689 w 3794887"/>
              <a:gd name="connsiteY4" fmla="*/ 32023 h 537759"/>
              <a:gd name="connsiteX0" fmla="*/ 34689 w 3726793"/>
              <a:gd name="connsiteY0" fmla="*/ 32023 h 537759"/>
              <a:gd name="connsiteX1" fmla="*/ 3726793 w 3726793"/>
              <a:gd name="connsiteY1" fmla="*/ 0 h 537759"/>
              <a:gd name="connsiteX2" fmla="*/ 3570634 w 3726793"/>
              <a:gd name="connsiteY2" fmla="*/ 537759 h 537759"/>
              <a:gd name="connsiteX3" fmla="*/ 0 w 3726793"/>
              <a:gd name="connsiteY3" fmla="*/ 465059 h 537759"/>
              <a:gd name="connsiteX4" fmla="*/ 34689 w 3726793"/>
              <a:gd name="connsiteY4" fmla="*/ 32023 h 537759"/>
              <a:gd name="connsiteX0" fmla="*/ 34689 w 3852736"/>
              <a:gd name="connsiteY0" fmla="*/ 32023 h 528031"/>
              <a:gd name="connsiteX1" fmla="*/ 3726793 w 3852736"/>
              <a:gd name="connsiteY1" fmla="*/ 0 h 528031"/>
              <a:gd name="connsiteX2" fmla="*/ 3852736 w 3852736"/>
              <a:gd name="connsiteY2" fmla="*/ 528031 h 528031"/>
              <a:gd name="connsiteX3" fmla="*/ 0 w 3852736"/>
              <a:gd name="connsiteY3" fmla="*/ 465059 h 528031"/>
              <a:gd name="connsiteX4" fmla="*/ 34689 w 3852736"/>
              <a:gd name="connsiteY4" fmla="*/ 32023 h 528031"/>
              <a:gd name="connsiteX0" fmla="*/ 34689 w 3852736"/>
              <a:gd name="connsiteY0" fmla="*/ 12567 h 508575"/>
              <a:gd name="connsiteX1" fmla="*/ 3833797 w 3852736"/>
              <a:gd name="connsiteY1" fmla="*/ 0 h 508575"/>
              <a:gd name="connsiteX2" fmla="*/ 3852736 w 3852736"/>
              <a:gd name="connsiteY2" fmla="*/ 508575 h 508575"/>
              <a:gd name="connsiteX3" fmla="*/ 0 w 3852736"/>
              <a:gd name="connsiteY3" fmla="*/ 445603 h 508575"/>
              <a:gd name="connsiteX4" fmla="*/ 34689 w 3852736"/>
              <a:gd name="connsiteY4" fmla="*/ 12567 h 508575"/>
              <a:gd name="connsiteX0" fmla="*/ 34689 w 3833797"/>
              <a:gd name="connsiteY0" fmla="*/ 12567 h 445603"/>
              <a:gd name="connsiteX1" fmla="*/ 3833797 w 3833797"/>
              <a:gd name="connsiteY1" fmla="*/ 0 h 445603"/>
              <a:gd name="connsiteX2" fmla="*/ 2199033 w 3833797"/>
              <a:gd name="connsiteY2" fmla="*/ 430754 h 445603"/>
              <a:gd name="connsiteX3" fmla="*/ 0 w 3833797"/>
              <a:gd name="connsiteY3" fmla="*/ 445603 h 445603"/>
              <a:gd name="connsiteX4" fmla="*/ 34689 w 3833797"/>
              <a:gd name="connsiteY4" fmla="*/ 12567 h 445603"/>
              <a:gd name="connsiteX0" fmla="*/ 34689 w 2199550"/>
              <a:gd name="connsiteY0" fmla="*/ 12567 h 445603"/>
              <a:gd name="connsiteX1" fmla="*/ 2199550 w 2199550"/>
              <a:gd name="connsiteY1" fmla="*/ 0 h 445603"/>
              <a:gd name="connsiteX2" fmla="*/ 2199033 w 2199550"/>
              <a:gd name="connsiteY2" fmla="*/ 430754 h 445603"/>
              <a:gd name="connsiteX3" fmla="*/ 0 w 2199550"/>
              <a:gd name="connsiteY3" fmla="*/ 445603 h 445603"/>
              <a:gd name="connsiteX4" fmla="*/ 34689 w 2199550"/>
              <a:gd name="connsiteY4" fmla="*/ 12567 h 445603"/>
              <a:gd name="connsiteX0" fmla="*/ 34689 w 2286582"/>
              <a:gd name="connsiteY0" fmla="*/ 12567 h 445603"/>
              <a:gd name="connsiteX1" fmla="*/ 2199550 w 2286582"/>
              <a:gd name="connsiteY1" fmla="*/ 0 h 445603"/>
              <a:gd name="connsiteX2" fmla="*/ 2286582 w 2286582"/>
              <a:gd name="connsiteY2" fmla="*/ 440481 h 445603"/>
              <a:gd name="connsiteX3" fmla="*/ 0 w 2286582"/>
              <a:gd name="connsiteY3" fmla="*/ 445603 h 445603"/>
              <a:gd name="connsiteX4" fmla="*/ 34689 w 2286582"/>
              <a:gd name="connsiteY4" fmla="*/ 12567 h 445603"/>
              <a:gd name="connsiteX0" fmla="*/ 0 w 2251893"/>
              <a:gd name="connsiteY0" fmla="*/ 12567 h 440481"/>
              <a:gd name="connsiteX1" fmla="*/ 2164861 w 2251893"/>
              <a:gd name="connsiteY1" fmla="*/ 0 h 440481"/>
              <a:gd name="connsiteX2" fmla="*/ 2251893 w 2251893"/>
              <a:gd name="connsiteY2" fmla="*/ 440481 h 440481"/>
              <a:gd name="connsiteX3" fmla="*/ 4222 w 2251893"/>
              <a:gd name="connsiteY3" fmla="*/ 435875 h 440481"/>
              <a:gd name="connsiteX4" fmla="*/ 0 w 2251893"/>
              <a:gd name="connsiteY4" fmla="*/ 12567 h 440481"/>
              <a:gd name="connsiteX0" fmla="*/ 0 w 2251893"/>
              <a:gd name="connsiteY0" fmla="*/ 12567 h 440481"/>
              <a:gd name="connsiteX1" fmla="*/ 2164861 w 2251893"/>
              <a:gd name="connsiteY1" fmla="*/ 0 h 440481"/>
              <a:gd name="connsiteX2" fmla="*/ 2251893 w 2251893"/>
              <a:gd name="connsiteY2" fmla="*/ 440481 h 440481"/>
              <a:gd name="connsiteX3" fmla="*/ 4222 w 2251893"/>
              <a:gd name="connsiteY3" fmla="*/ 416419 h 440481"/>
              <a:gd name="connsiteX4" fmla="*/ 0 w 2251893"/>
              <a:gd name="connsiteY4" fmla="*/ 12567 h 440481"/>
              <a:gd name="connsiteX0" fmla="*/ 0 w 2251893"/>
              <a:gd name="connsiteY0" fmla="*/ 12567 h 824980"/>
              <a:gd name="connsiteX1" fmla="*/ 2164861 w 2251893"/>
              <a:gd name="connsiteY1" fmla="*/ 0 h 824980"/>
              <a:gd name="connsiteX2" fmla="*/ 2251893 w 2251893"/>
              <a:gd name="connsiteY2" fmla="*/ 440481 h 824980"/>
              <a:gd name="connsiteX3" fmla="*/ 52860 w 2251893"/>
              <a:gd name="connsiteY3" fmla="*/ 824980 h 824980"/>
              <a:gd name="connsiteX4" fmla="*/ 0 w 2251893"/>
              <a:gd name="connsiteY4" fmla="*/ 12567 h 824980"/>
              <a:gd name="connsiteX0" fmla="*/ 0 w 4557349"/>
              <a:gd name="connsiteY0" fmla="*/ 12567 h 824980"/>
              <a:gd name="connsiteX1" fmla="*/ 2164861 w 4557349"/>
              <a:gd name="connsiteY1" fmla="*/ 0 h 824980"/>
              <a:gd name="connsiteX2" fmla="*/ 4557349 w 4557349"/>
              <a:gd name="connsiteY2" fmla="*/ 790677 h 824980"/>
              <a:gd name="connsiteX3" fmla="*/ 52860 w 4557349"/>
              <a:gd name="connsiteY3" fmla="*/ 824980 h 824980"/>
              <a:gd name="connsiteX4" fmla="*/ 0 w 4557349"/>
              <a:gd name="connsiteY4" fmla="*/ 12567 h 824980"/>
              <a:gd name="connsiteX0" fmla="*/ 0 w 4557349"/>
              <a:gd name="connsiteY0" fmla="*/ 0 h 812413"/>
              <a:gd name="connsiteX1" fmla="*/ 4518955 w 4557349"/>
              <a:gd name="connsiteY1" fmla="*/ 36071 h 812413"/>
              <a:gd name="connsiteX2" fmla="*/ 4557349 w 4557349"/>
              <a:gd name="connsiteY2" fmla="*/ 778110 h 812413"/>
              <a:gd name="connsiteX3" fmla="*/ 52860 w 4557349"/>
              <a:gd name="connsiteY3" fmla="*/ 812413 h 812413"/>
              <a:gd name="connsiteX4" fmla="*/ 0 w 4557349"/>
              <a:gd name="connsiteY4" fmla="*/ 0 h 812413"/>
              <a:gd name="connsiteX0" fmla="*/ 0 w 4557349"/>
              <a:gd name="connsiteY0" fmla="*/ 22295 h 834708"/>
              <a:gd name="connsiteX1" fmla="*/ 4480044 w 4557349"/>
              <a:gd name="connsiteY1" fmla="*/ 0 h 834708"/>
              <a:gd name="connsiteX2" fmla="*/ 4557349 w 4557349"/>
              <a:gd name="connsiteY2" fmla="*/ 800405 h 834708"/>
              <a:gd name="connsiteX3" fmla="*/ 52860 w 4557349"/>
              <a:gd name="connsiteY3" fmla="*/ 834708 h 834708"/>
              <a:gd name="connsiteX4" fmla="*/ 0 w 4557349"/>
              <a:gd name="connsiteY4" fmla="*/ 22295 h 834708"/>
              <a:gd name="connsiteX0" fmla="*/ 0 w 5014549"/>
              <a:gd name="connsiteY0" fmla="*/ 22295 h 834708"/>
              <a:gd name="connsiteX1" fmla="*/ 4480044 w 5014549"/>
              <a:gd name="connsiteY1" fmla="*/ 0 h 834708"/>
              <a:gd name="connsiteX2" fmla="*/ 5014549 w 5014549"/>
              <a:gd name="connsiteY2" fmla="*/ 819860 h 834708"/>
              <a:gd name="connsiteX3" fmla="*/ 52860 w 5014549"/>
              <a:gd name="connsiteY3" fmla="*/ 834708 h 834708"/>
              <a:gd name="connsiteX4" fmla="*/ 0 w 5014549"/>
              <a:gd name="connsiteY4" fmla="*/ 22295 h 834708"/>
              <a:gd name="connsiteX0" fmla="*/ 0 w 5014549"/>
              <a:gd name="connsiteY0" fmla="*/ 51478 h 863891"/>
              <a:gd name="connsiteX1" fmla="*/ 4908061 w 5014549"/>
              <a:gd name="connsiteY1" fmla="*/ 0 h 863891"/>
              <a:gd name="connsiteX2" fmla="*/ 5014549 w 5014549"/>
              <a:gd name="connsiteY2" fmla="*/ 849043 h 863891"/>
              <a:gd name="connsiteX3" fmla="*/ 52860 w 5014549"/>
              <a:gd name="connsiteY3" fmla="*/ 863891 h 863891"/>
              <a:gd name="connsiteX4" fmla="*/ 0 w 5014549"/>
              <a:gd name="connsiteY4" fmla="*/ 51478 h 86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14549" h="863891">
                <a:moveTo>
                  <a:pt x="0" y="51478"/>
                </a:moveTo>
                <a:lnTo>
                  <a:pt x="4908061" y="0"/>
                </a:lnTo>
                <a:cubicBezTo>
                  <a:pt x="4907889" y="143585"/>
                  <a:pt x="5014721" y="705458"/>
                  <a:pt x="5014549" y="849043"/>
                </a:cubicBezTo>
                <a:lnTo>
                  <a:pt x="52860" y="863891"/>
                </a:lnTo>
                <a:cubicBezTo>
                  <a:pt x="51453" y="722788"/>
                  <a:pt x="1407" y="192581"/>
                  <a:pt x="0" y="5147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515938" y="1660832"/>
            <a:ext cx="11397639" cy="2437112"/>
          </a:xfrm>
        </p:spPr>
        <p:txBody>
          <a:bodyPr>
            <a:noAutofit/>
          </a:bodyPr>
          <a:lstStyle/>
          <a:p>
            <a:r>
              <a:rPr lang="de-DE" sz="6000" dirty="0">
                <a:solidFill>
                  <a:srgbClr val="1A4273"/>
                </a:solidFill>
              </a:rPr>
              <a:t>WELCOME!</a:t>
            </a:r>
            <a:br>
              <a:rPr lang="de-DE" sz="6000" dirty="0">
                <a:solidFill>
                  <a:srgbClr val="1A4273"/>
                </a:solidFill>
              </a:rPr>
            </a:br>
            <a:r>
              <a:rPr lang="de-DE" sz="6000" dirty="0"/>
              <a:t>TO CAMPUS CHAM</a:t>
            </a:r>
            <a:br>
              <a:rPr lang="de-DE" sz="6000" dirty="0"/>
            </a:br>
            <a:endParaRPr lang="de-DE" sz="6000" dirty="0"/>
          </a:p>
        </p:txBody>
      </p:sp>
      <p:sp>
        <p:nvSpPr>
          <p:cNvPr id="11" name="Rechteck 10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D5B629-05D9-5C54-ACD4-2529CAD10B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6128" y="24246"/>
            <a:ext cx="2429738" cy="69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7978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589C-104F-4BD2-38B5-959DE9C84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311CEBE-0DD9-3A4C-4C57-228B2E26C38B}"/>
              </a:ext>
            </a:extLst>
          </p:cNvPr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C88686-5BF0-1B93-3059-2951ADD873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0</a:t>
            </a:fld>
            <a:endParaRPr lang="de-DE" dirty="0"/>
          </a:p>
        </p:txBody>
      </p:sp>
      <p:pic>
        <p:nvPicPr>
          <p:cNvPr id="30" name="Picture 5" descr="I:\arrow.GIF">
            <a:extLst>
              <a:ext uri="{FF2B5EF4-FFF2-40B4-BE49-F238E27FC236}">
                <a16:creationId xmlns:a16="http://schemas.microsoft.com/office/drawing/2014/main" id="{6D2D8D40-D099-DF63-6966-9A768CE89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>
            <a:extLst>
              <a:ext uri="{FF2B5EF4-FFF2-40B4-BE49-F238E27FC236}">
                <a16:creationId xmlns:a16="http://schemas.microsoft.com/office/drawing/2014/main" id="{0F749B34-F03C-AEC1-861A-FD02403E489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ation Outputs</a:t>
            </a:r>
            <a:r>
              <a:rPr lang="en-US" b="1" dirty="0"/>
              <a:t> Flight Time vs Total Weight</a:t>
            </a:r>
            <a:r>
              <a:rPr lang="tr-TR" b="1" dirty="0"/>
              <a:t> (XTAR)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>
            <a:extLst>
              <a:ext uri="{FF2B5EF4-FFF2-40B4-BE49-F238E27FC236}">
                <a16:creationId xmlns:a16="http://schemas.microsoft.com/office/drawing/2014/main" id="{52F416BC-9616-842D-1589-60C627CFC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2D46DE-308F-46C7-B945-250C7131F4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526" y="1144365"/>
            <a:ext cx="10139424" cy="4569269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extLst>
      <p:ext uri="{BB962C8B-B14F-4D97-AF65-F5344CB8AC3E}">
        <p14:creationId xmlns:p14="http://schemas.microsoft.com/office/powerpoint/2010/main" val="32222620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589C-104F-4BD2-38B5-959DE9C84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311CEBE-0DD9-3A4C-4C57-228B2E26C38B}"/>
              </a:ext>
            </a:extLst>
          </p:cNvPr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C88686-5BF0-1B93-3059-2951ADD873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1</a:t>
            </a:fld>
            <a:endParaRPr lang="de-DE" dirty="0"/>
          </a:p>
        </p:txBody>
      </p:sp>
      <p:pic>
        <p:nvPicPr>
          <p:cNvPr id="30" name="Picture 5" descr="I:\arrow.GIF">
            <a:extLst>
              <a:ext uri="{FF2B5EF4-FFF2-40B4-BE49-F238E27FC236}">
                <a16:creationId xmlns:a16="http://schemas.microsoft.com/office/drawing/2014/main" id="{6D2D8D40-D099-DF63-6966-9A768CE89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>
            <a:extLst>
              <a:ext uri="{FF2B5EF4-FFF2-40B4-BE49-F238E27FC236}">
                <a16:creationId xmlns:a16="http://schemas.microsoft.com/office/drawing/2014/main" id="{0F749B34-F03C-AEC1-861A-FD02403E489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ation Outputs</a:t>
            </a:r>
            <a:r>
              <a:rPr lang="en-US" b="1" dirty="0"/>
              <a:t> Flight Time vs Hover Thrust</a:t>
            </a:r>
            <a:r>
              <a:rPr lang="tr-TR" b="1" dirty="0"/>
              <a:t> (XTAR)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>
            <a:extLst>
              <a:ext uri="{FF2B5EF4-FFF2-40B4-BE49-F238E27FC236}">
                <a16:creationId xmlns:a16="http://schemas.microsoft.com/office/drawing/2014/main" id="{52F416BC-9616-842D-1589-60C627CFC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63DEED0-1076-4DA9-89E8-035DD0BA0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399" y="1124376"/>
            <a:ext cx="9910916" cy="464300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17438101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589C-104F-4BD2-38B5-959DE9C84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311CEBE-0DD9-3A4C-4C57-228B2E26C38B}"/>
              </a:ext>
            </a:extLst>
          </p:cNvPr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C88686-5BF0-1B93-3059-2951ADD873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2</a:t>
            </a:fld>
            <a:endParaRPr lang="de-DE" dirty="0"/>
          </a:p>
        </p:txBody>
      </p:sp>
      <p:pic>
        <p:nvPicPr>
          <p:cNvPr id="30" name="Picture 5" descr="I:\arrow.GIF">
            <a:extLst>
              <a:ext uri="{FF2B5EF4-FFF2-40B4-BE49-F238E27FC236}">
                <a16:creationId xmlns:a16="http://schemas.microsoft.com/office/drawing/2014/main" id="{6D2D8D40-D099-DF63-6966-9A768CE89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>
            <a:extLst>
              <a:ext uri="{FF2B5EF4-FFF2-40B4-BE49-F238E27FC236}">
                <a16:creationId xmlns:a16="http://schemas.microsoft.com/office/drawing/2014/main" id="{0F749B34-F03C-AEC1-861A-FD02403E489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ation Outputs</a:t>
            </a:r>
            <a:r>
              <a:rPr lang="en-US" b="1" dirty="0"/>
              <a:t> Flight Time vs Total Weight</a:t>
            </a:r>
            <a:r>
              <a:rPr lang="tr-TR" b="1" dirty="0"/>
              <a:t> (Keeppower)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>
            <a:extLst>
              <a:ext uri="{FF2B5EF4-FFF2-40B4-BE49-F238E27FC236}">
                <a16:creationId xmlns:a16="http://schemas.microsoft.com/office/drawing/2014/main" id="{52F416BC-9616-842D-1589-60C627CFC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A32FFCD-941E-4ACB-ADD1-4EE8200A4E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573" y="959676"/>
            <a:ext cx="10462392" cy="4753173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extLst>
      <p:ext uri="{BB962C8B-B14F-4D97-AF65-F5344CB8AC3E}">
        <p14:creationId xmlns:p14="http://schemas.microsoft.com/office/powerpoint/2010/main" val="17932562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589C-104F-4BD2-38B5-959DE9C84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311CEBE-0DD9-3A4C-4C57-228B2E26C38B}"/>
              </a:ext>
            </a:extLst>
          </p:cNvPr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C88686-5BF0-1B93-3059-2951ADD873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3</a:t>
            </a:fld>
            <a:endParaRPr lang="de-DE" dirty="0"/>
          </a:p>
        </p:txBody>
      </p:sp>
      <p:pic>
        <p:nvPicPr>
          <p:cNvPr id="30" name="Picture 5" descr="I:\arrow.GIF">
            <a:extLst>
              <a:ext uri="{FF2B5EF4-FFF2-40B4-BE49-F238E27FC236}">
                <a16:creationId xmlns:a16="http://schemas.microsoft.com/office/drawing/2014/main" id="{6D2D8D40-D099-DF63-6966-9A768CE89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>
            <a:extLst>
              <a:ext uri="{FF2B5EF4-FFF2-40B4-BE49-F238E27FC236}">
                <a16:creationId xmlns:a16="http://schemas.microsoft.com/office/drawing/2014/main" id="{0F749B34-F03C-AEC1-861A-FD02403E489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ation Outputs</a:t>
            </a:r>
            <a:r>
              <a:rPr lang="en-US" b="1" dirty="0"/>
              <a:t> Flight Time vs Hover Thrust</a:t>
            </a:r>
            <a:r>
              <a:rPr lang="tr-TR" b="1" dirty="0"/>
              <a:t> (Keeppower)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>
            <a:extLst>
              <a:ext uri="{FF2B5EF4-FFF2-40B4-BE49-F238E27FC236}">
                <a16:creationId xmlns:a16="http://schemas.microsoft.com/office/drawing/2014/main" id="{52F416BC-9616-842D-1589-60C627CFC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3F82693-031B-42FA-BD93-AFE7E304C9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120" y="1052413"/>
            <a:ext cx="10089404" cy="4753174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extLst>
      <p:ext uri="{BB962C8B-B14F-4D97-AF65-F5344CB8AC3E}">
        <p14:creationId xmlns:p14="http://schemas.microsoft.com/office/powerpoint/2010/main" val="26968360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4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tr-TR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The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A</a:t>
            </a:r>
            <a:r>
              <a:rPr lang="en-US" b="1" dirty="0" err="1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lgorithm</a:t>
            </a:r>
            <a:r>
              <a:rPr lang="tr-TR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of Optimization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374726-62DB-4B6B-A728-8E872B622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00" y="829220"/>
            <a:ext cx="5921263" cy="50988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086B36F-A637-4C17-BD51-036271976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1945" y="1334067"/>
            <a:ext cx="4778154" cy="70110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B90DE02-87B7-4D37-BDA8-06E1828E2E69}"/>
              </a:ext>
            </a:extLst>
          </p:cNvPr>
          <p:cNvSpPr txBox="1"/>
          <p:nvPr/>
        </p:nvSpPr>
        <p:spPr>
          <a:xfrm>
            <a:off x="6971945" y="829220"/>
            <a:ext cx="38109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200" dirty="0"/>
              <a:t>Output</a:t>
            </a:r>
            <a:endParaRPr lang="en-IN" sz="2200" dirty="0"/>
          </a:p>
        </p:txBody>
      </p:sp>
    </p:spTree>
    <p:extLst>
      <p:ext uri="{BB962C8B-B14F-4D97-AF65-F5344CB8AC3E}">
        <p14:creationId xmlns:p14="http://schemas.microsoft.com/office/powerpoint/2010/main" val="32996975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AF2BA88-204B-4319-875E-5383506917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803" b="8382"/>
          <a:stretch/>
        </p:blipFill>
        <p:spPr>
          <a:xfrm>
            <a:off x="9039225" y="2268574"/>
            <a:ext cx="2819644" cy="160675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5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System Specifications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79118003-827C-4F1E-B14B-F2D09ECF1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42835"/>
              </p:ext>
            </p:extLst>
          </p:nvPr>
        </p:nvGraphicFramePr>
        <p:xfrm>
          <a:off x="634073" y="1296000"/>
          <a:ext cx="4979649" cy="35973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3876">
                  <a:extLst>
                    <a:ext uri="{9D8B030D-6E8A-4147-A177-3AD203B41FA5}">
                      <a16:colId xmlns:a16="http://schemas.microsoft.com/office/drawing/2014/main" val="738697973"/>
                    </a:ext>
                  </a:extLst>
                </a:gridCol>
                <a:gridCol w="1269813">
                  <a:extLst>
                    <a:ext uri="{9D8B030D-6E8A-4147-A177-3AD203B41FA5}">
                      <a16:colId xmlns:a16="http://schemas.microsoft.com/office/drawing/2014/main" val="1469993603"/>
                    </a:ext>
                  </a:extLst>
                </a:gridCol>
                <a:gridCol w="1250066">
                  <a:extLst>
                    <a:ext uri="{9D8B030D-6E8A-4147-A177-3AD203B41FA5}">
                      <a16:colId xmlns:a16="http://schemas.microsoft.com/office/drawing/2014/main" val="526495859"/>
                    </a:ext>
                  </a:extLst>
                </a:gridCol>
                <a:gridCol w="1145894">
                  <a:extLst>
                    <a:ext uri="{9D8B030D-6E8A-4147-A177-3AD203B41FA5}">
                      <a16:colId xmlns:a16="http://schemas.microsoft.com/office/drawing/2014/main" val="3695847068"/>
                    </a:ext>
                  </a:extLst>
                </a:gridCol>
              </a:tblGrid>
              <a:tr h="455004">
                <a:tc>
                  <a:txBody>
                    <a:bodyPr/>
                    <a:lstStyle/>
                    <a:p>
                      <a:r>
                        <a:rPr lang="tr-TR" sz="2400" b="1" dirty="0">
                          <a:solidFill>
                            <a:schemeClr val="tx1"/>
                          </a:solidFill>
                        </a:rPr>
                        <a:t>Specif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tr-TR" sz="2400" b="1" dirty="0">
                          <a:solidFill>
                            <a:schemeClr val="tx1"/>
                          </a:solidFill>
                        </a:rPr>
                        <a:t>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tr-TR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542063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 dirty="0"/>
                        <a:t>Batter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Keeppow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XT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Ares</a:t>
                      </a:r>
                      <a:endParaRPr lang="en-US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Base Model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122699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 dirty="0"/>
                        <a:t>Battery Weight 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49x6x18= 5292 g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dirty="0"/>
                        <a:t>51x6x17=</a:t>
                      </a:r>
                    </a:p>
                    <a:p>
                      <a:pPr algn="ctr"/>
                      <a:r>
                        <a:rPr lang="tr-TR" dirty="0"/>
                        <a:t>5202 g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2600x2=</a:t>
                      </a:r>
                    </a:p>
                    <a:p>
                      <a:pPr algn="ctr"/>
                      <a:r>
                        <a:rPr lang="tr-TR" dirty="0"/>
                        <a:t>5200 g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921805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 dirty="0"/>
                        <a:t>Battery Capac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68.4 A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61.2 A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60.0 A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0822821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 dirty="0"/>
                        <a:t>Battery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18 x 6S 22.2 V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17 x 6S 22.2 V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 × 6S  22.2 V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154693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06BB2DB2-D20D-40C3-8E96-B3AD0C19CB4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894" b="27490"/>
          <a:stretch/>
        </p:blipFill>
        <p:spPr>
          <a:xfrm>
            <a:off x="6260385" y="2335167"/>
            <a:ext cx="2857748" cy="15116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F0AF3F-8167-429D-9D0D-11434D5FF2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9258" y="4021284"/>
            <a:ext cx="2741371" cy="229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7169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9">
            <a:extLst>
              <a:ext uri="{FF2B5EF4-FFF2-40B4-BE49-F238E27FC236}">
                <a16:creationId xmlns:a16="http://schemas.microsoft.com/office/drawing/2014/main" id="{20B8C550-8CB2-40BB-ACEE-53DDAB5BB61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en-US" b="1" i="0" dirty="0">
                <a:solidFill>
                  <a:srgbClr val="2C363A"/>
                </a:solidFill>
                <a:effectLst/>
                <a:latin typeface="Roboto" panose="02000000000000000000" pitchFamily="2" charset="0"/>
              </a:rPr>
              <a:t>          </a:t>
            </a:r>
            <a:r>
              <a:rPr lang="tr-TR" b="1" i="0" dirty="0">
                <a:solidFill>
                  <a:srgbClr val="2C363A"/>
                </a:solidFill>
                <a:effectLst/>
                <a:latin typeface="Roboto" panose="02000000000000000000" pitchFamily="2" charset="0"/>
              </a:rPr>
              <a:t>Analysis of energy inefficiencies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F2BA88-204B-4319-875E-5383506917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803" b="8382"/>
          <a:stretch/>
        </p:blipFill>
        <p:spPr>
          <a:xfrm>
            <a:off x="9039225" y="2268574"/>
            <a:ext cx="2819644" cy="160675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6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79118003-827C-4F1E-B14B-F2D09ECF1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136630"/>
              </p:ext>
            </p:extLst>
          </p:nvPr>
        </p:nvGraphicFramePr>
        <p:xfrm>
          <a:off x="634073" y="1268305"/>
          <a:ext cx="5461927" cy="4325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1209">
                  <a:extLst>
                    <a:ext uri="{9D8B030D-6E8A-4147-A177-3AD203B41FA5}">
                      <a16:colId xmlns:a16="http://schemas.microsoft.com/office/drawing/2014/main" val="738697973"/>
                    </a:ext>
                  </a:extLst>
                </a:gridCol>
                <a:gridCol w="1549721">
                  <a:extLst>
                    <a:ext uri="{9D8B030D-6E8A-4147-A177-3AD203B41FA5}">
                      <a16:colId xmlns:a16="http://schemas.microsoft.com/office/drawing/2014/main" val="1469993603"/>
                    </a:ext>
                  </a:extLst>
                </a:gridCol>
                <a:gridCol w="1083017">
                  <a:extLst>
                    <a:ext uri="{9D8B030D-6E8A-4147-A177-3AD203B41FA5}">
                      <a16:colId xmlns:a16="http://schemas.microsoft.com/office/drawing/2014/main" val="526495859"/>
                    </a:ext>
                  </a:extLst>
                </a:gridCol>
                <a:gridCol w="1187980">
                  <a:extLst>
                    <a:ext uri="{9D8B030D-6E8A-4147-A177-3AD203B41FA5}">
                      <a16:colId xmlns:a16="http://schemas.microsoft.com/office/drawing/2014/main" val="2750144252"/>
                    </a:ext>
                  </a:extLst>
                </a:gridCol>
              </a:tblGrid>
              <a:tr h="455004">
                <a:tc>
                  <a:txBody>
                    <a:bodyPr/>
                    <a:lstStyle/>
                    <a:p>
                      <a:pPr algn="ctr"/>
                      <a:r>
                        <a:rPr lang="tr-TR" sz="2400" b="1" dirty="0">
                          <a:solidFill>
                            <a:schemeClr val="tx1"/>
                          </a:solidFill>
                        </a:rPr>
                        <a:t>Specif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tr-TR" sz="2400" b="1" dirty="0">
                          <a:solidFill>
                            <a:schemeClr val="tx1"/>
                          </a:solidFill>
                        </a:rPr>
                        <a:t>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0542063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pPr algn="ctr"/>
                      <a:r>
                        <a:rPr lang="tr-TR" b="1" dirty="0"/>
                        <a:t>Batter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Keeppow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XT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Ares</a:t>
                      </a:r>
                    </a:p>
                    <a:p>
                      <a:pPr algn="ctr"/>
                      <a:r>
                        <a:rPr lang="en-US" dirty="0"/>
                        <a:t>Base Model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122699"/>
                  </a:ext>
                </a:extLst>
              </a:tr>
              <a:tr h="379875">
                <a:tc>
                  <a:txBody>
                    <a:bodyPr/>
                    <a:lstStyle/>
                    <a:p>
                      <a:pPr algn="ctr"/>
                      <a:r>
                        <a:rPr lang="tr-TR" b="1" dirty="0"/>
                        <a:t>Hover Time </a:t>
                      </a:r>
                    </a:p>
                    <a:p>
                      <a:pPr algn="ctr"/>
                      <a:r>
                        <a:rPr lang="tr-TR" b="1" dirty="0"/>
                        <a:t>( 9 kg)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28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25.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24.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238980"/>
                  </a:ext>
                </a:extLst>
              </a:tr>
              <a:tr h="379875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Flight Time is for the same battery weight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720592"/>
                  </a:ext>
                </a:extLst>
              </a:tr>
              <a:tr h="379875">
                <a:tc>
                  <a:txBody>
                    <a:bodyPr/>
                    <a:lstStyle/>
                    <a:p>
                      <a:pPr algn="ctr"/>
                      <a:r>
                        <a:rPr lang="tr-TR" b="1" dirty="0"/>
                        <a:t>Flight Time Improvement Percent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13.7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2.0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 24.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307850"/>
                  </a:ext>
                </a:extLst>
              </a:tr>
              <a:tr h="37987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Or energy use is for the same flight duration</a:t>
                      </a:r>
                      <a:endParaRPr lang="tr-TR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2335250"/>
                  </a:ext>
                </a:extLst>
              </a:tr>
              <a:tr h="304644">
                <a:tc>
                  <a:txBody>
                    <a:bodyPr/>
                    <a:lstStyle/>
                    <a:p>
                      <a:pPr algn="ctr"/>
                      <a:r>
                        <a:rPr lang="tr-TR" b="1" dirty="0"/>
                        <a:t>Energy Utiliz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1181 Wh</a:t>
                      </a:r>
                    </a:p>
                    <a:p>
                      <a:pPr algn="ctr"/>
                      <a:r>
                        <a:rPr lang="tr-TR" b="1" dirty="0"/>
                        <a:t>11.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1278 Wh</a:t>
                      </a:r>
                    </a:p>
                    <a:p>
                      <a:pPr algn="ctr"/>
                      <a:r>
                        <a:rPr lang="tr-TR" b="1" dirty="0"/>
                        <a:t>4.0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1332 W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157085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06BB2DB2-D20D-40C3-8E96-B3AD0C19CB4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894" b="27490"/>
          <a:stretch/>
        </p:blipFill>
        <p:spPr>
          <a:xfrm>
            <a:off x="6260385" y="2335167"/>
            <a:ext cx="2857748" cy="15116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F0AF3F-8167-429D-9D0D-11434D5FF2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9258" y="4021284"/>
            <a:ext cx="2741371" cy="229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725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9">
            <a:extLst>
              <a:ext uri="{FF2B5EF4-FFF2-40B4-BE49-F238E27FC236}">
                <a16:creationId xmlns:a16="http://schemas.microsoft.com/office/drawing/2014/main" id="{20B8C550-8CB2-40BB-ACEE-53DDAB5BB61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en-US" b="1" i="0" dirty="0">
                <a:solidFill>
                  <a:srgbClr val="2C363A"/>
                </a:solidFill>
                <a:effectLst/>
                <a:latin typeface="Roboto" panose="02000000000000000000" pitchFamily="2" charset="0"/>
              </a:rPr>
              <a:t>          </a:t>
            </a:r>
            <a:r>
              <a:rPr lang="tr-TR" b="1" i="0" dirty="0">
                <a:solidFill>
                  <a:srgbClr val="2C363A"/>
                </a:solidFill>
                <a:effectLst/>
                <a:latin typeface="Roboto" panose="02000000000000000000" pitchFamily="2" charset="0"/>
              </a:rPr>
              <a:t>Future Scope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7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69B30EA-7CD4-4FB6-A6EF-F6382A9B253F}"/>
              </a:ext>
            </a:extLst>
          </p:cNvPr>
          <p:cNvSpPr txBox="1"/>
          <p:nvPr/>
        </p:nvSpPr>
        <p:spPr>
          <a:xfrm>
            <a:off x="794657" y="1262743"/>
            <a:ext cx="9786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800" b="1" dirty="0"/>
              <a:t>B</a:t>
            </a:r>
            <a:r>
              <a:rPr lang="en-US" sz="2800" b="1" dirty="0" err="1"/>
              <a:t>atteries</a:t>
            </a:r>
            <a:r>
              <a:rPr lang="en-US" sz="2800" b="1" dirty="0"/>
              <a:t> with higher energy capacity</a:t>
            </a:r>
            <a:endParaRPr lang="tr-TR" sz="2800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FF5D33-B7C2-4348-87A3-F7BE16726604}"/>
              </a:ext>
            </a:extLst>
          </p:cNvPr>
          <p:cNvSpPr txBox="1"/>
          <p:nvPr/>
        </p:nvSpPr>
        <p:spPr>
          <a:xfrm>
            <a:off x="1353457" y="1780883"/>
            <a:ext cx="978625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urrent battery energy density averages around 250–300 </a:t>
            </a:r>
            <a:r>
              <a:rPr lang="en-US" sz="1200" dirty="0" err="1"/>
              <a:t>Wh</a:t>
            </a:r>
            <a:r>
              <a:rPr lang="en-US" sz="1200" dirty="0"/>
              <a:t>/kg, with expectations to reach 400 </a:t>
            </a:r>
            <a:r>
              <a:rPr lang="en-US" sz="1200" dirty="0" err="1"/>
              <a:t>Wh</a:t>
            </a:r>
            <a:r>
              <a:rPr lang="en-US" sz="1200" dirty="0"/>
              <a:t>/kg in 5 years and up to 500–600 </a:t>
            </a:r>
            <a:r>
              <a:rPr lang="en-US" sz="1200" dirty="0" err="1"/>
              <a:t>Wh</a:t>
            </a:r>
            <a:r>
              <a:rPr lang="en-US" sz="1200" dirty="0"/>
              <a:t>/kg in 10 years through advancements.</a:t>
            </a:r>
            <a:endParaRPr lang="tr-TR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2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0D69E9B-22FD-42C4-B2B8-11DEA11DCDE8}"/>
              </a:ext>
            </a:extLst>
          </p:cNvPr>
          <p:cNvSpPr txBox="1"/>
          <p:nvPr/>
        </p:nvSpPr>
        <p:spPr>
          <a:xfrm>
            <a:off x="794657" y="2246873"/>
            <a:ext cx="9786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800" b="1" dirty="0"/>
              <a:t>Advanced AI support</a:t>
            </a:r>
            <a:endParaRPr lang="en-IN" sz="2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02280BF-9343-4127-9365-C67D3DB1B516}"/>
              </a:ext>
            </a:extLst>
          </p:cNvPr>
          <p:cNvSpPr txBox="1"/>
          <p:nvPr/>
        </p:nvSpPr>
        <p:spPr>
          <a:xfrm>
            <a:off x="1353457" y="2770093"/>
            <a:ext cx="9786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With advanced AI </a:t>
            </a:r>
            <a:r>
              <a:rPr lang="tr-TR" sz="1200" dirty="0"/>
              <a:t>algorithms</a:t>
            </a:r>
            <a:r>
              <a:rPr lang="en-US" sz="1200" dirty="0"/>
              <a:t>, more efficient and adaptive flight profiles can be generated based on real-time payload, mission type, and battery status.</a:t>
            </a:r>
            <a:endParaRPr lang="en-IN" sz="2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C41FC2-1E19-4434-BA28-6EE7D348AE28}"/>
              </a:ext>
            </a:extLst>
          </p:cNvPr>
          <p:cNvSpPr txBox="1"/>
          <p:nvPr/>
        </p:nvSpPr>
        <p:spPr>
          <a:xfrm>
            <a:off x="794657" y="3066784"/>
            <a:ext cx="9786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800" b="1" dirty="0"/>
              <a:t>Next-Gen Power Technologies</a:t>
            </a:r>
            <a:endParaRPr lang="en-IN" sz="2200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3EF12D7-BB6E-49EB-8D18-3613AB26C924}"/>
              </a:ext>
            </a:extLst>
          </p:cNvPr>
          <p:cNvSpPr txBox="1"/>
          <p:nvPr/>
        </p:nvSpPr>
        <p:spPr>
          <a:xfrm>
            <a:off x="1353456" y="3609696"/>
            <a:ext cx="97862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Future integration of alternative energy sources such as hydrogen fuel cells and nuclear batteries could significantly extend flight endurance and reduce reliance on conventional lithium-based systems.</a:t>
            </a:r>
            <a:endParaRPr lang="en-IN" sz="2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978953A-D290-4196-9DAA-172FFFE3041D}"/>
              </a:ext>
            </a:extLst>
          </p:cNvPr>
          <p:cNvSpPr txBox="1"/>
          <p:nvPr/>
        </p:nvSpPr>
        <p:spPr>
          <a:xfrm>
            <a:off x="794657" y="4091929"/>
            <a:ext cx="9786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800" b="1" dirty="0"/>
              <a:t>Modular Power Systems</a:t>
            </a:r>
            <a:endParaRPr lang="en-IN" sz="22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094EE3F-D633-4264-A8A4-4821534B9CDB}"/>
              </a:ext>
            </a:extLst>
          </p:cNvPr>
          <p:cNvSpPr txBox="1"/>
          <p:nvPr/>
        </p:nvSpPr>
        <p:spPr>
          <a:xfrm>
            <a:off x="1353455" y="4600690"/>
            <a:ext cx="9786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esigning swappable battery/motor modules to adapt the aircraft for different missions and payloads.</a:t>
            </a:r>
            <a:endParaRPr lang="en-IN" sz="2200" dirty="0"/>
          </a:p>
        </p:txBody>
      </p:sp>
    </p:spTree>
    <p:extLst>
      <p:ext uri="{BB962C8B-B14F-4D97-AF65-F5344CB8AC3E}">
        <p14:creationId xmlns:p14="http://schemas.microsoft.com/office/powerpoint/2010/main" val="10326381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8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0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tr-TR" dirty="0"/>
              <a:t>           Project Plan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CCBF12-40B1-4841-A9A7-092A7D4A0A4E}"/>
              </a:ext>
            </a:extLst>
          </p:cNvPr>
          <p:cNvSpPr txBox="1"/>
          <p:nvPr/>
        </p:nvSpPr>
        <p:spPr>
          <a:xfrm>
            <a:off x="303788" y="1224929"/>
            <a:ext cx="5010652" cy="964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  <a:buSzPct val="150000"/>
            </a:pPr>
            <a:r>
              <a:rPr lang="tr-TR" sz="2000" dirty="0"/>
              <a:t>📅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 30.04.2025</a:t>
            </a:r>
            <a:b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➔ Concept Presntation (TASK 1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38B666-60F2-4D07-B311-C09B5A31DC38}"/>
              </a:ext>
            </a:extLst>
          </p:cNvPr>
          <p:cNvSpPr txBox="1"/>
          <p:nvPr/>
        </p:nvSpPr>
        <p:spPr>
          <a:xfrm>
            <a:off x="318793" y="2390352"/>
            <a:ext cx="11141024" cy="9574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📅 01.05.2025 – 10.05.2025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➔ Component Library Creation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 (Weight, Energy Capacity, Power Consumption, Price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6D1DD1-809B-4E25-A928-87E9D797A96C}"/>
              </a:ext>
            </a:extLst>
          </p:cNvPr>
          <p:cNvSpPr txBox="1"/>
          <p:nvPr/>
        </p:nvSpPr>
        <p:spPr>
          <a:xfrm>
            <a:off x="318792" y="3602361"/>
            <a:ext cx="950106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📅 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11.05.2025 – 20.05.2025</a:t>
            </a:r>
            <a:b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➔ Simulation of Ex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ample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 System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 (Motor Selection, Battery Matching, Energy Consumption Calculation, Visualization)</a:t>
            </a:r>
            <a:endParaRPr lang="tr-TR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D34DF8-9991-4CE2-A774-6BAC2C1218F9}"/>
              </a:ext>
            </a:extLst>
          </p:cNvPr>
          <p:cNvSpPr txBox="1"/>
          <p:nvPr/>
        </p:nvSpPr>
        <p:spPr>
          <a:xfrm>
            <a:off x="318792" y="4840855"/>
            <a:ext cx="60976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dirty="0"/>
              <a:t>📅 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21.05.2025</a:t>
            </a:r>
            <a:b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➔ System Simulation Presentation (TASK 2)</a:t>
            </a:r>
            <a:endParaRPr lang="tr-TR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831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19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0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tr-TR" dirty="0"/>
              <a:t>           Project Plan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CCBF12-40B1-4841-A9A7-092A7D4A0A4E}"/>
              </a:ext>
            </a:extLst>
          </p:cNvPr>
          <p:cNvSpPr txBox="1"/>
          <p:nvPr/>
        </p:nvSpPr>
        <p:spPr>
          <a:xfrm>
            <a:off x="303788" y="1224929"/>
            <a:ext cx="5010652" cy="964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  <a:buSzPct val="150000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📅 22.05.2025 – 10.06.2025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SzPct val="150000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➔ Optimization Model Development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38B666-60F2-4D07-B311-C09B5A31DC38}"/>
              </a:ext>
            </a:extLst>
          </p:cNvPr>
          <p:cNvSpPr txBox="1"/>
          <p:nvPr/>
        </p:nvSpPr>
        <p:spPr>
          <a:xfrm>
            <a:off x="318793" y="2390352"/>
            <a:ext cx="11141024" cy="9574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📅 11.06.2025 – 17.06.2025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➔ Final Simulation and Comparison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6D1DD1-809B-4E25-A928-87E9D797A96C}"/>
              </a:ext>
            </a:extLst>
          </p:cNvPr>
          <p:cNvSpPr txBox="1"/>
          <p:nvPr/>
        </p:nvSpPr>
        <p:spPr>
          <a:xfrm>
            <a:off x="318792" y="3602361"/>
            <a:ext cx="95010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📅 18.06.2025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➔ Final Presentation (TASK 4)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D34DF8-9991-4CE2-A774-6BAC2C1218F9}"/>
              </a:ext>
            </a:extLst>
          </p:cNvPr>
          <p:cNvSpPr txBox="1"/>
          <p:nvPr/>
        </p:nvSpPr>
        <p:spPr>
          <a:xfrm>
            <a:off x="303788" y="4564814"/>
            <a:ext cx="60976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📅 01.06.2025 – 01.07.2025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➔ Report Writing (IEEE Format)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397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515940" y="532022"/>
            <a:ext cx="4335592" cy="460016"/>
          </a:xfrm>
          <a:custGeom>
            <a:avLst/>
            <a:gdLst>
              <a:gd name="connsiteX0" fmla="*/ 0 w 1856326"/>
              <a:gd name="connsiteY0" fmla="*/ 0 h 399630"/>
              <a:gd name="connsiteX1" fmla="*/ 1856326 w 1856326"/>
              <a:gd name="connsiteY1" fmla="*/ 0 h 399630"/>
              <a:gd name="connsiteX2" fmla="*/ 1856326 w 1856326"/>
              <a:gd name="connsiteY2" fmla="*/ 399630 h 399630"/>
              <a:gd name="connsiteX3" fmla="*/ 0 w 1856326"/>
              <a:gd name="connsiteY3" fmla="*/ 399630 h 399630"/>
              <a:gd name="connsiteX4" fmla="*/ 0 w 1856326"/>
              <a:gd name="connsiteY4" fmla="*/ 0 h 399630"/>
              <a:gd name="connsiteX0" fmla="*/ 69011 w 1925337"/>
              <a:gd name="connsiteY0" fmla="*/ 0 h 434136"/>
              <a:gd name="connsiteX1" fmla="*/ 1925337 w 1925337"/>
              <a:gd name="connsiteY1" fmla="*/ 0 h 434136"/>
              <a:gd name="connsiteX2" fmla="*/ 1925337 w 1925337"/>
              <a:gd name="connsiteY2" fmla="*/ 399630 h 434136"/>
              <a:gd name="connsiteX3" fmla="*/ 0 w 1925337"/>
              <a:gd name="connsiteY3" fmla="*/ 434136 h 434136"/>
              <a:gd name="connsiteX4" fmla="*/ 69011 w 1925337"/>
              <a:gd name="connsiteY4" fmla="*/ 0 h 434136"/>
              <a:gd name="connsiteX0" fmla="*/ 163901 w 1925337"/>
              <a:gd name="connsiteY0" fmla="*/ 0 h 477269"/>
              <a:gd name="connsiteX1" fmla="*/ 1925337 w 1925337"/>
              <a:gd name="connsiteY1" fmla="*/ 43133 h 477269"/>
              <a:gd name="connsiteX2" fmla="*/ 1925337 w 1925337"/>
              <a:gd name="connsiteY2" fmla="*/ 442763 h 477269"/>
              <a:gd name="connsiteX3" fmla="*/ 0 w 1925337"/>
              <a:gd name="connsiteY3" fmla="*/ 477269 h 477269"/>
              <a:gd name="connsiteX4" fmla="*/ 163901 w 1925337"/>
              <a:gd name="connsiteY4" fmla="*/ 0 h 477269"/>
              <a:gd name="connsiteX0" fmla="*/ 163901 w 1925337"/>
              <a:gd name="connsiteY0" fmla="*/ 112143 h 589412"/>
              <a:gd name="connsiteX1" fmla="*/ 1925337 w 1925337"/>
              <a:gd name="connsiteY1" fmla="*/ 0 h 589412"/>
              <a:gd name="connsiteX2" fmla="*/ 1925337 w 1925337"/>
              <a:gd name="connsiteY2" fmla="*/ 554906 h 589412"/>
              <a:gd name="connsiteX3" fmla="*/ 0 w 1925337"/>
              <a:gd name="connsiteY3" fmla="*/ 589412 h 589412"/>
              <a:gd name="connsiteX4" fmla="*/ 163901 w 1925337"/>
              <a:gd name="connsiteY4" fmla="*/ 112143 h 589412"/>
              <a:gd name="connsiteX0" fmla="*/ 163901 w 1925337"/>
              <a:gd name="connsiteY0" fmla="*/ 0 h 477269"/>
              <a:gd name="connsiteX1" fmla="*/ 1804567 w 1925337"/>
              <a:gd name="connsiteY1" fmla="*/ 0 h 477269"/>
              <a:gd name="connsiteX2" fmla="*/ 1925337 w 1925337"/>
              <a:gd name="connsiteY2" fmla="*/ 442763 h 477269"/>
              <a:gd name="connsiteX3" fmla="*/ 0 w 1925337"/>
              <a:gd name="connsiteY3" fmla="*/ 477269 h 477269"/>
              <a:gd name="connsiteX4" fmla="*/ 163901 w 1925337"/>
              <a:gd name="connsiteY4" fmla="*/ 0 h 477269"/>
              <a:gd name="connsiteX0" fmla="*/ 155275 w 1925337"/>
              <a:gd name="connsiteY0" fmla="*/ 69011 h 477269"/>
              <a:gd name="connsiteX1" fmla="*/ 1804567 w 1925337"/>
              <a:gd name="connsiteY1" fmla="*/ 0 h 477269"/>
              <a:gd name="connsiteX2" fmla="*/ 1925337 w 1925337"/>
              <a:gd name="connsiteY2" fmla="*/ 442763 h 477269"/>
              <a:gd name="connsiteX3" fmla="*/ 0 w 1925337"/>
              <a:gd name="connsiteY3" fmla="*/ 477269 h 477269"/>
              <a:gd name="connsiteX4" fmla="*/ 155275 w 1925337"/>
              <a:gd name="connsiteY4" fmla="*/ 69011 h 477269"/>
              <a:gd name="connsiteX0" fmla="*/ 94890 w 1864952"/>
              <a:gd name="connsiteY0" fmla="*/ 69011 h 451390"/>
              <a:gd name="connsiteX1" fmla="*/ 1744182 w 1864952"/>
              <a:gd name="connsiteY1" fmla="*/ 0 h 451390"/>
              <a:gd name="connsiteX2" fmla="*/ 1864952 w 1864952"/>
              <a:gd name="connsiteY2" fmla="*/ 442763 h 451390"/>
              <a:gd name="connsiteX3" fmla="*/ 0 w 1864952"/>
              <a:gd name="connsiteY3" fmla="*/ 451390 h 451390"/>
              <a:gd name="connsiteX4" fmla="*/ 94890 w 1864952"/>
              <a:gd name="connsiteY4" fmla="*/ 69011 h 451390"/>
              <a:gd name="connsiteX0" fmla="*/ 94890 w 1830446"/>
              <a:gd name="connsiteY0" fmla="*/ 69011 h 494522"/>
              <a:gd name="connsiteX1" fmla="*/ 1744182 w 1830446"/>
              <a:gd name="connsiteY1" fmla="*/ 0 h 494522"/>
              <a:gd name="connsiteX2" fmla="*/ 1830446 w 1830446"/>
              <a:gd name="connsiteY2" fmla="*/ 494522 h 494522"/>
              <a:gd name="connsiteX3" fmla="*/ 0 w 1830446"/>
              <a:gd name="connsiteY3" fmla="*/ 451390 h 494522"/>
              <a:gd name="connsiteX4" fmla="*/ 94890 w 1830446"/>
              <a:gd name="connsiteY4" fmla="*/ 69011 h 494522"/>
              <a:gd name="connsiteX0" fmla="*/ 94890 w 2770725"/>
              <a:gd name="connsiteY0" fmla="*/ 8626 h 434137"/>
              <a:gd name="connsiteX1" fmla="*/ 2770725 w 2770725"/>
              <a:gd name="connsiteY1" fmla="*/ 0 h 434137"/>
              <a:gd name="connsiteX2" fmla="*/ 1830446 w 2770725"/>
              <a:gd name="connsiteY2" fmla="*/ 434137 h 434137"/>
              <a:gd name="connsiteX3" fmla="*/ 0 w 2770725"/>
              <a:gd name="connsiteY3" fmla="*/ 391005 h 434137"/>
              <a:gd name="connsiteX4" fmla="*/ 94890 w 2770725"/>
              <a:gd name="connsiteY4" fmla="*/ 8626 h 434137"/>
              <a:gd name="connsiteX0" fmla="*/ 94890 w 2839736"/>
              <a:gd name="connsiteY0" fmla="*/ 8626 h 408257"/>
              <a:gd name="connsiteX1" fmla="*/ 2770725 w 2839736"/>
              <a:gd name="connsiteY1" fmla="*/ 0 h 408257"/>
              <a:gd name="connsiteX2" fmla="*/ 2839736 w 2839736"/>
              <a:gd name="connsiteY2" fmla="*/ 408257 h 408257"/>
              <a:gd name="connsiteX3" fmla="*/ 0 w 2839736"/>
              <a:gd name="connsiteY3" fmla="*/ 391005 h 408257"/>
              <a:gd name="connsiteX4" fmla="*/ 94890 w 2839736"/>
              <a:gd name="connsiteY4" fmla="*/ 8626 h 408257"/>
              <a:gd name="connsiteX0" fmla="*/ 94890 w 2822484"/>
              <a:gd name="connsiteY0" fmla="*/ 8626 h 442763"/>
              <a:gd name="connsiteX1" fmla="*/ 2770725 w 2822484"/>
              <a:gd name="connsiteY1" fmla="*/ 0 h 442763"/>
              <a:gd name="connsiteX2" fmla="*/ 2822484 w 2822484"/>
              <a:gd name="connsiteY2" fmla="*/ 442763 h 442763"/>
              <a:gd name="connsiteX3" fmla="*/ 0 w 2822484"/>
              <a:gd name="connsiteY3" fmla="*/ 391005 h 442763"/>
              <a:gd name="connsiteX4" fmla="*/ 94890 w 2822484"/>
              <a:gd name="connsiteY4" fmla="*/ 8626 h 442763"/>
              <a:gd name="connsiteX0" fmla="*/ 94890 w 2822484"/>
              <a:gd name="connsiteY0" fmla="*/ 8626 h 442763"/>
              <a:gd name="connsiteX1" fmla="*/ 2770725 w 2822484"/>
              <a:gd name="connsiteY1" fmla="*/ 0 h 442763"/>
              <a:gd name="connsiteX2" fmla="*/ 2822484 w 2822484"/>
              <a:gd name="connsiteY2" fmla="*/ 442763 h 442763"/>
              <a:gd name="connsiteX3" fmla="*/ 0 w 2822484"/>
              <a:gd name="connsiteY3" fmla="*/ 382378 h 442763"/>
              <a:gd name="connsiteX4" fmla="*/ 94890 w 2822484"/>
              <a:gd name="connsiteY4" fmla="*/ 8626 h 442763"/>
              <a:gd name="connsiteX0" fmla="*/ 94890 w 2796605"/>
              <a:gd name="connsiteY0" fmla="*/ 8626 h 434137"/>
              <a:gd name="connsiteX1" fmla="*/ 2770725 w 2796605"/>
              <a:gd name="connsiteY1" fmla="*/ 0 h 434137"/>
              <a:gd name="connsiteX2" fmla="*/ 2796605 w 2796605"/>
              <a:gd name="connsiteY2" fmla="*/ 434137 h 434137"/>
              <a:gd name="connsiteX3" fmla="*/ 0 w 2796605"/>
              <a:gd name="connsiteY3" fmla="*/ 382378 h 434137"/>
              <a:gd name="connsiteX4" fmla="*/ 94890 w 2796605"/>
              <a:gd name="connsiteY4" fmla="*/ 8626 h 434137"/>
              <a:gd name="connsiteX0" fmla="*/ 94890 w 2796605"/>
              <a:gd name="connsiteY0" fmla="*/ 0 h 425511"/>
              <a:gd name="connsiteX1" fmla="*/ 2572318 w 2796605"/>
              <a:gd name="connsiteY1" fmla="*/ 0 h 425511"/>
              <a:gd name="connsiteX2" fmla="*/ 2796605 w 2796605"/>
              <a:gd name="connsiteY2" fmla="*/ 425511 h 425511"/>
              <a:gd name="connsiteX3" fmla="*/ 0 w 2796605"/>
              <a:gd name="connsiteY3" fmla="*/ 373752 h 425511"/>
              <a:gd name="connsiteX4" fmla="*/ 94890 w 2796605"/>
              <a:gd name="connsiteY4" fmla="*/ 0 h 425511"/>
              <a:gd name="connsiteX0" fmla="*/ 94890 w 2649956"/>
              <a:gd name="connsiteY0" fmla="*/ 0 h 391005"/>
              <a:gd name="connsiteX1" fmla="*/ 2572318 w 2649956"/>
              <a:gd name="connsiteY1" fmla="*/ 0 h 391005"/>
              <a:gd name="connsiteX2" fmla="*/ 2649956 w 2649956"/>
              <a:gd name="connsiteY2" fmla="*/ 391005 h 391005"/>
              <a:gd name="connsiteX3" fmla="*/ 0 w 2649956"/>
              <a:gd name="connsiteY3" fmla="*/ 373752 h 391005"/>
              <a:gd name="connsiteX4" fmla="*/ 94890 w 2649956"/>
              <a:gd name="connsiteY4" fmla="*/ 0 h 391005"/>
              <a:gd name="connsiteX0" fmla="*/ 43132 w 2598198"/>
              <a:gd name="connsiteY0" fmla="*/ 0 h 408257"/>
              <a:gd name="connsiteX1" fmla="*/ 2520560 w 2598198"/>
              <a:gd name="connsiteY1" fmla="*/ 0 h 408257"/>
              <a:gd name="connsiteX2" fmla="*/ 2598198 w 2598198"/>
              <a:gd name="connsiteY2" fmla="*/ 391005 h 408257"/>
              <a:gd name="connsiteX3" fmla="*/ 0 w 2598198"/>
              <a:gd name="connsiteY3" fmla="*/ 408257 h 408257"/>
              <a:gd name="connsiteX4" fmla="*/ 43132 w 2598198"/>
              <a:gd name="connsiteY4" fmla="*/ 0 h 408257"/>
              <a:gd name="connsiteX0" fmla="*/ 43132 w 2960508"/>
              <a:gd name="connsiteY0" fmla="*/ 8626 h 416883"/>
              <a:gd name="connsiteX1" fmla="*/ 2960508 w 2960508"/>
              <a:gd name="connsiteY1" fmla="*/ 0 h 416883"/>
              <a:gd name="connsiteX2" fmla="*/ 2598198 w 2960508"/>
              <a:gd name="connsiteY2" fmla="*/ 399631 h 416883"/>
              <a:gd name="connsiteX3" fmla="*/ 0 w 2960508"/>
              <a:gd name="connsiteY3" fmla="*/ 416883 h 416883"/>
              <a:gd name="connsiteX4" fmla="*/ 43132 w 2960508"/>
              <a:gd name="connsiteY4" fmla="*/ 8626 h 416883"/>
              <a:gd name="connsiteX0" fmla="*/ 43132 w 2960508"/>
              <a:gd name="connsiteY0" fmla="*/ 8626 h 416883"/>
              <a:gd name="connsiteX1" fmla="*/ 2960508 w 2960508"/>
              <a:gd name="connsiteY1" fmla="*/ 0 h 416883"/>
              <a:gd name="connsiteX2" fmla="*/ 2882870 w 2960508"/>
              <a:gd name="connsiteY2" fmla="*/ 408257 h 416883"/>
              <a:gd name="connsiteX3" fmla="*/ 0 w 2960508"/>
              <a:gd name="connsiteY3" fmla="*/ 416883 h 416883"/>
              <a:gd name="connsiteX4" fmla="*/ 43132 w 2960508"/>
              <a:gd name="connsiteY4" fmla="*/ 8626 h 416883"/>
              <a:gd name="connsiteX0" fmla="*/ 0 w 2995014"/>
              <a:gd name="connsiteY0" fmla="*/ 25879 h 416883"/>
              <a:gd name="connsiteX1" fmla="*/ 2995014 w 2995014"/>
              <a:gd name="connsiteY1" fmla="*/ 0 h 416883"/>
              <a:gd name="connsiteX2" fmla="*/ 2917376 w 2995014"/>
              <a:gd name="connsiteY2" fmla="*/ 408257 h 416883"/>
              <a:gd name="connsiteX3" fmla="*/ 34506 w 2995014"/>
              <a:gd name="connsiteY3" fmla="*/ 416883 h 416883"/>
              <a:gd name="connsiteX4" fmla="*/ 0 w 2995014"/>
              <a:gd name="connsiteY4" fmla="*/ 25879 h 416883"/>
              <a:gd name="connsiteX0" fmla="*/ 0 w 2995014"/>
              <a:gd name="connsiteY0" fmla="*/ 25879 h 416883"/>
              <a:gd name="connsiteX1" fmla="*/ 2995014 w 2995014"/>
              <a:gd name="connsiteY1" fmla="*/ 0 h 416883"/>
              <a:gd name="connsiteX2" fmla="*/ 2917376 w 2995014"/>
              <a:gd name="connsiteY2" fmla="*/ 408257 h 416883"/>
              <a:gd name="connsiteX3" fmla="*/ 60385 w 2995014"/>
              <a:gd name="connsiteY3" fmla="*/ 416883 h 416883"/>
              <a:gd name="connsiteX4" fmla="*/ 0 w 2995014"/>
              <a:gd name="connsiteY4" fmla="*/ 25879 h 416883"/>
              <a:gd name="connsiteX0" fmla="*/ 25879 w 3020893"/>
              <a:gd name="connsiteY0" fmla="*/ 25879 h 434136"/>
              <a:gd name="connsiteX1" fmla="*/ 3020893 w 3020893"/>
              <a:gd name="connsiteY1" fmla="*/ 0 h 434136"/>
              <a:gd name="connsiteX2" fmla="*/ 2943255 w 3020893"/>
              <a:gd name="connsiteY2" fmla="*/ 408257 h 434136"/>
              <a:gd name="connsiteX3" fmla="*/ 0 w 3020893"/>
              <a:gd name="connsiteY3" fmla="*/ 434136 h 434136"/>
              <a:gd name="connsiteX4" fmla="*/ 25879 w 3020893"/>
              <a:gd name="connsiteY4" fmla="*/ 25879 h 434136"/>
              <a:gd name="connsiteX0" fmla="*/ 51759 w 3020893"/>
              <a:gd name="connsiteY0" fmla="*/ 25879 h 434136"/>
              <a:gd name="connsiteX1" fmla="*/ 3020893 w 3020893"/>
              <a:gd name="connsiteY1" fmla="*/ 0 h 434136"/>
              <a:gd name="connsiteX2" fmla="*/ 2943255 w 3020893"/>
              <a:gd name="connsiteY2" fmla="*/ 408257 h 434136"/>
              <a:gd name="connsiteX3" fmla="*/ 0 w 3020893"/>
              <a:gd name="connsiteY3" fmla="*/ 434136 h 434136"/>
              <a:gd name="connsiteX4" fmla="*/ 51759 w 3020893"/>
              <a:gd name="connsiteY4" fmla="*/ 25879 h 434136"/>
              <a:gd name="connsiteX0" fmla="*/ 51759 w 2943255"/>
              <a:gd name="connsiteY0" fmla="*/ 34505 h 442762"/>
              <a:gd name="connsiteX1" fmla="*/ 1554403 w 2943255"/>
              <a:gd name="connsiteY1" fmla="*/ 0 h 442762"/>
              <a:gd name="connsiteX2" fmla="*/ 2943255 w 2943255"/>
              <a:gd name="connsiteY2" fmla="*/ 416883 h 442762"/>
              <a:gd name="connsiteX3" fmla="*/ 0 w 2943255"/>
              <a:gd name="connsiteY3" fmla="*/ 442762 h 442762"/>
              <a:gd name="connsiteX4" fmla="*/ 51759 w 2943255"/>
              <a:gd name="connsiteY4" fmla="*/ 34505 h 442762"/>
              <a:gd name="connsiteX0" fmla="*/ 51759 w 1571655"/>
              <a:gd name="connsiteY0" fmla="*/ 34505 h 442762"/>
              <a:gd name="connsiteX1" fmla="*/ 1554403 w 1571655"/>
              <a:gd name="connsiteY1" fmla="*/ 0 h 442762"/>
              <a:gd name="connsiteX2" fmla="*/ 1571655 w 1571655"/>
              <a:gd name="connsiteY2" fmla="*/ 425509 h 442762"/>
              <a:gd name="connsiteX3" fmla="*/ 0 w 1571655"/>
              <a:gd name="connsiteY3" fmla="*/ 442762 h 442762"/>
              <a:gd name="connsiteX4" fmla="*/ 51759 w 1571655"/>
              <a:gd name="connsiteY4" fmla="*/ 34505 h 442762"/>
              <a:gd name="connsiteX0" fmla="*/ 0 w 1519896"/>
              <a:gd name="connsiteY0" fmla="*/ 34505 h 434136"/>
              <a:gd name="connsiteX1" fmla="*/ 1502644 w 1519896"/>
              <a:gd name="connsiteY1" fmla="*/ 0 h 434136"/>
              <a:gd name="connsiteX2" fmla="*/ 1519896 w 1519896"/>
              <a:gd name="connsiteY2" fmla="*/ 425509 h 434136"/>
              <a:gd name="connsiteX3" fmla="*/ 34505 w 1519896"/>
              <a:gd name="connsiteY3" fmla="*/ 434136 h 434136"/>
              <a:gd name="connsiteX4" fmla="*/ 0 w 1519896"/>
              <a:gd name="connsiteY4" fmla="*/ 34505 h 434136"/>
              <a:gd name="connsiteX0" fmla="*/ 0 w 3365949"/>
              <a:gd name="connsiteY0" fmla="*/ 43132 h 442763"/>
              <a:gd name="connsiteX1" fmla="*/ 3365949 w 3365949"/>
              <a:gd name="connsiteY1" fmla="*/ 0 h 442763"/>
              <a:gd name="connsiteX2" fmla="*/ 1519896 w 3365949"/>
              <a:gd name="connsiteY2" fmla="*/ 434136 h 442763"/>
              <a:gd name="connsiteX3" fmla="*/ 34505 w 3365949"/>
              <a:gd name="connsiteY3" fmla="*/ 442763 h 442763"/>
              <a:gd name="connsiteX4" fmla="*/ 0 w 3365949"/>
              <a:gd name="connsiteY4" fmla="*/ 43132 h 442763"/>
              <a:gd name="connsiteX0" fmla="*/ 0 w 3365949"/>
              <a:gd name="connsiteY0" fmla="*/ 43132 h 442763"/>
              <a:gd name="connsiteX1" fmla="*/ 3365949 w 3365949"/>
              <a:gd name="connsiteY1" fmla="*/ 0 h 442763"/>
              <a:gd name="connsiteX2" fmla="*/ 3141662 w 3365949"/>
              <a:gd name="connsiteY2" fmla="*/ 434136 h 442763"/>
              <a:gd name="connsiteX3" fmla="*/ 34505 w 3365949"/>
              <a:gd name="connsiteY3" fmla="*/ 442763 h 442763"/>
              <a:gd name="connsiteX4" fmla="*/ 0 w 3365949"/>
              <a:gd name="connsiteY4" fmla="*/ 43132 h 442763"/>
              <a:gd name="connsiteX0" fmla="*/ 0 w 3202047"/>
              <a:gd name="connsiteY0" fmla="*/ 17253 h 416884"/>
              <a:gd name="connsiteX1" fmla="*/ 3202047 w 3202047"/>
              <a:gd name="connsiteY1" fmla="*/ 0 h 416884"/>
              <a:gd name="connsiteX2" fmla="*/ 3141662 w 3202047"/>
              <a:gd name="connsiteY2" fmla="*/ 408257 h 416884"/>
              <a:gd name="connsiteX3" fmla="*/ 34505 w 3202047"/>
              <a:gd name="connsiteY3" fmla="*/ 416884 h 416884"/>
              <a:gd name="connsiteX4" fmla="*/ 0 w 3202047"/>
              <a:gd name="connsiteY4" fmla="*/ 17253 h 416884"/>
              <a:gd name="connsiteX0" fmla="*/ 0 w 3202047"/>
              <a:gd name="connsiteY0" fmla="*/ 60385 h 460016"/>
              <a:gd name="connsiteX1" fmla="*/ 3202047 w 3202047"/>
              <a:gd name="connsiteY1" fmla="*/ 0 h 460016"/>
              <a:gd name="connsiteX2" fmla="*/ 3141662 w 3202047"/>
              <a:gd name="connsiteY2" fmla="*/ 451389 h 460016"/>
              <a:gd name="connsiteX3" fmla="*/ 34505 w 3202047"/>
              <a:gd name="connsiteY3" fmla="*/ 460016 h 460016"/>
              <a:gd name="connsiteX4" fmla="*/ 0 w 3202047"/>
              <a:gd name="connsiteY4" fmla="*/ 60385 h 460016"/>
              <a:gd name="connsiteX0" fmla="*/ 0 w 3202047"/>
              <a:gd name="connsiteY0" fmla="*/ 60385 h 460016"/>
              <a:gd name="connsiteX1" fmla="*/ 3202047 w 3202047"/>
              <a:gd name="connsiteY1" fmla="*/ 0 h 460016"/>
              <a:gd name="connsiteX2" fmla="*/ 3167541 w 3202047"/>
              <a:gd name="connsiteY2" fmla="*/ 416884 h 460016"/>
              <a:gd name="connsiteX3" fmla="*/ 34505 w 3202047"/>
              <a:gd name="connsiteY3" fmla="*/ 460016 h 460016"/>
              <a:gd name="connsiteX4" fmla="*/ 0 w 3202047"/>
              <a:gd name="connsiteY4" fmla="*/ 60385 h 46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2047" h="460016">
                <a:moveTo>
                  <a:pt x="0" y="60385"/>
                </a:moveTo>
                <a:lnTo>
                  <a:pt x="3202047" y="0"/>
                </a:lnTo>
                <a:lnTo>
                  <a:pt x="3167541" y="416884"/>
                </a:lnTo>
                <a:lnTo>
                  <a:pt x="34505" y="460016"/>
                </a:lnTo>
                <a:lnTo>
                  <a:pt x="0" y="60385"/>
                </a:lnTo>
                <a:close/>
              </a:path>
            </a:pathLst>
          </a:cu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CAMPUS CHAM</a:t>
            </a:r>
            <a:br>
              <a:rPr lang="de-DE" dirty="0"/>
            </a:br>
            <a:endParaRPr lang="de-DE" dirty="0">
              <a:solidFill>
                <a:srgbClr val="1A4273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063552" y="1693621"/>
            <a:ext cx="8229600" cy="18322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None/>
              <a:defRPr sz="44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18" name="Titel 1"/>
          <p:cNvSpPr txBox="1">
            <a:spLocks/>
          </p:cNvSpPr>
          <p:nvPr/>
        </p:nvSpPr>
        <p:spPr bwMode="auto">
          <a:xfrm>
            <a:off x="2194373" y="3375168"/>
            <a:ext cx="2967561" cy="556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hor: Team Fire</a:t>
            </a:r>
          </a:p>
        </p:txBody>
      </p:sp>
      <p:sp>
        <p:nvSpPr>
          <p:cNvPr id="19" name="Titel 1"/>
          <p:cNvSpPr txBox="1">
            <a:spLocks/>
          </p:cNvSpPr>
          <p:nvPr/>
        </p:nvSpPr>
        <p:spPr bwMode="auto">
          <a:xfrm>
            <a:off x="6589556" y="3377871"/>
            <a:ext cx="1153560" cy="556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de-DE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m </a:t>
            </a:r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1892167" y="1914798"/>
            <a:ext cx="8208912" cy="115060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ctr">
              <a:lnSpc>
                <a:spcPct val="150000"/>
              </a:lnSpc>
              <a:spcBef>
                <a:spcPct val="0"/>
              </a:spcBef>
              <a:buNone/>
              <a:defRPr sz="2400" b="1">
                <a:solidFill>
                  <a:srgbClr val="1A4273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r>
              <a:rPr lang="de-DE" sz="2000" dirty="0"/>
              <a:t>Energy Optimization of e-VTOL systems using Simulation-Based Analysis</a:t>
            </a:r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3"/>
          </p:nvPr>
        </p:nvSpPr>
        <p:spPr>
          <a:xfrm>
            <a:off x="7828808" y="3551454"/>
            <a:ext cx="1923721" cy="365125"/>
          </a:xfrm>
        </p:spPr>
        <p:txBody>
          <a:bodyPr/>
          <a:lstStyle/>
          <a:p>
            <a:r>
              <a:rPr lang="tr-TR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</a:t>
            </a:r>
            <a:r>
              <a:rPr lang="de-DE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0</a:t>
            </a:r>
            <a:r>
              <a:rPr lang="tr-TR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r>
              <a:rPr lang="de-DE" sz="2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2025</a:t>
            </a:r>
          </a:p>
        </p:txBody>
      </p:sp>
      <p:pic>
        <p:nvPicPr>
          <p:cNvPr id="15" name="Picture 2" descr="http://tc-cham.hdu-deggendorf.de/images/stories/bildarchiv/bild_07_g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9715" y="4195275"/>
            <a:ext cx="2280000" cy="1710000"/>
          </a:xfrm>
          <a:prstGeom prst="rect">
            <a:avLst/>
          </a:prstGeom>
          <a:noFill/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0951" y="4195276"/>
            <a:ext cx="2238384" cy="1709999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9335" y="4195275"/>
            <a:ext cx="3270085" cy="17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8627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20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References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16C8459-7320-C911-D1DF-1F25CF788438}"/>
              </a:ext>
            </a:extLst>
          </p:cNvPr>
          <p:cNvSpPr txBox="1"/>
          <p:nvPr/>
        </p:nvSpPr>
        <p:spPr>
          <a:xfrm>
            <a:off x="755328" y="1213008"/>
            <a:ext cx="10218783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/>
              <a:t>Data Source: T-MOTOR Official Website – MN6007 KV320 Datasheet </a:t>
            </a:r>
            <a:r>
              <a:rPr lang="tr-TR" sz="2400" dirty="0"/>
              <a:t>and Ares Battary</a:t>
            </a:r>
            <a:r>
              <a:rPr lang="en-US" sz="2400" dirty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Data Source: </a:t>
            </a:r>
            <a:r>
              <a:rPr lang="en-US" sz="2400" dirty="0" err="1"/>
              <a:t>Keeppower</a:t>
            </a:r>
            <a:r>
              <a:rPr lang="en-US" sz="2400" dirty="0"/>
              <a:t> 18650 3800mAh Specification Sheet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Data Source: XTAR 18650 3600mAh Specification Sheet</a:t>
            </a:r>
          </a:p>
          <a:p>
            <a:pPr marL="457200" indent="-457200">
              <a:buFont typeface="+mj-lt"/>
              <a:buAutoNum type="arabicPeriod"/>
            </a:pPr>
            <a:r>
              <a:rPr lang="tr-TR" sz="2400" dirty="0">
                <a:ea typeface="Calibri" panose="020F0502020204030204" pitchFamily="34" charset="0"/>
                <a:cs typeface="Calibri" panose="020F0502020204030204" pitchFamily="34" charset="0"/>
              </a:rPr>
              <a:t>H. Taghbalout, L. A. Doustmohammadi, M. Shahbakhti, "Energy Management of an eVTOL Aircraft with Optimization-Based Powertrain Control," 2024 IEEE Transactions on Transportation Electrification, 2024.</a:t>
            </a:r>
          </a:p>
          <a:p>
            <a:pPr marL="457200" indent="-457200">
              <a:buFont typeface="+mj-lt"/>
              <a:buAutoNum type="arabicPeriod"/>
            </a:pPr>
            <a:r>
              <a:rPr lang="tr-TR" sz="2400" dirty="0">
                <a:ea typeface="Calibri" panose="020F0502020204030204" pitchFamily="34" charset="0"/>
                <a:cs typeface="Calibri" panose="020F0502020204030204" pitchFamily="34" charset="0"/>
              </a:rPr>
              <a:t> P. Chatterjee, A. Ray, and S. Kar, “Electric Vehicle Modeling in MATLAB and Simulink with SoC SoE Estimation of a Lithium-ion Battery,” IOP Conf. Series: Journal of Physics: Conf. Series, vol. 2385, no. 1, 2022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6614615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21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89517" y="301533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tr-TR" dirty="0"/>
              <a:t>           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AE72716-6921-4232-ACBC-77788AAD18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736088"/>
            <a:ext cx="12192000" cy="522226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endParaRPr lang="en-US" dirty="0"/>
          </a:p>
          <a:p>
            <a:pPr algn="just"/>
            <a:r>
              <a:rPr lang="en-US" b="1" dirty="0"/>
              <a:t>                                                                 </a:t>
            </a:r>
            <a:r>
              <a:rPr lang="en-US" sz="6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44171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3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tr-TR" dirty="0"/>
              <a:t>           </a:t>
            </a:r>
            <a:r>
              <a:rPr lang="tr-TR" dirty="0">
                <a:latin typeface="Verdana" panose="020B0604030504040204" pitchFamily="34" charset="0"/>
                <a:ea typeface="Verdana" panose="020B0604030504040204" pitchFamily="34" charset="0"/>
              </a:rPr>
              <a:t>Introduction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16C8459-7320-C911-D1DF-1F25CF788438}"/>
              </a:ext>
            </a:extLst>
          </p:cNvPr>
          <p:cNvSpPr txBox="1"/>
          <p:nvPr/>
        </p:nvSpPr>
        <p:spPr>
          <a:xfrm>
            <a:off x="770674" y="1470319"/>
            <a:ext cx="5658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70C0"/>
              </a:buClr>
            </a:pPr>
            <a:r>
              <a:rPr lang="tr-TR" sz="2200" dirty="0">
                <a:latin typeface="Verdana" panose="020B0604030504040204" pitchFamily="34" charset="0"/>
                <a:ea typeface="Verdana" panose="020B0604030504040204" pitchFamily="34" charset="0"/>
              </a:rPr>
              <a:t>     </a:t>
            </a:r>
            <a:r>
              <a:rPr lang="tr-TR" sz="2800" dirty="0">
                <a:latin typeface="Verdana" panose="020B0604030504040204" pitchFamily="34" charset="0"/>
                <a:ea typeface="Verdana" panose="020B0604030504040204" pitchFamily="34" charset="0"/>
              </a:rPr>
              <a:t>System Inefficiencies</a:t>
            </a:r>
            <a:endParaRPr lang="tr-TR" sz="2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2D3052-C636-4321-BEC8-53797AFC93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901" r="10412"/>
          <a:stretch/>
        </p:blipFill>
        <p:spPr>
          <a:xfrm>
            <a:off x="5923860" y="1611993"/>
            <a:ext cx="5658118" cy="36340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CCBF12-40B1-4841-A9A7-092A7D4A0A4E}"/>
              </a:ext>
            </a:extLst>
          </p:cNvPr>
          <p:cNvSpPr txBox="1"/>
          <p:nvPr/>
        </p:nvSpPr>
        <p:spPr>
          <a:xfrm>
            <a:off x="937675" y="2421905"/>
            <a:ext cx="4562573" cy="2338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Non-Optimized System Weight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Unnecessary Energy Consumption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Flight Time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More Expensive Battery Pack</a:t>
            </a:r>
            <a:endParaRPr lang="tr-TR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Freeform 18">
            <a:extLst>
              <a:ext uri="{FF2B5EF4-FFF2-40B4-BE49-F238E27FC236}">
                <a16:creationId xmlns:a16="http://schemas.microsoft.com/office/drawing/2014/main" id="{1A02BBB8-E815-4936-8AFE-B6EFE99FE4E7}"/>
              </a:ext>
            </a:extLst>
          </p:cNvPr>
          <p:cNvSpPr/>
          <p:nvPr/>
        </p:nvSpPr>
        <p:spPr>
          <a:xfrm>
            <a:off x="818696" y="1566152"/>
            <a:ext cx="456908" cy="365652"/>
          </a:xfrm>
          <a:custGeom>
            <a:avLst/>
            <a:gdLst/>
            <a:ahLst/>
            <a:cxnLst/>
            <a:rect l="l" t="t" r="r" b="b"/>
            <a:pathLst>
              <a:path w="1152492" h="1053089">
                <a:moveTo>
                  <a:pt x="0" y="0"/>
                </a:moveTo>
                <a:lnTo>
                  <a:pt x="1152492" y="0"/>
                </a:lnTo>
                <a:lnTo>
                  <a:pt x="1152492" y="1053089"/>
                </a:lnTo>
                <a:lnTo>
                  <a:pt x="0" y="1053089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5985950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4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tr-TR" dirty="0"/>
              <a:t>           </a:t>
            </a:r>
            <a:r>
              <a:rPr lang="en-US" dirty="0"/>
              <a:t>Aim &amp; Objectives 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16C8459-7320-C911-D1DF-1F25CF788438}"/>
              </a:ext>
            </a:extLst>
          </p:cNvPr>
          <p:cNvSpPr txBox="1"/>
          <p:nvPr/>
        </p:nvSpPr>
        <p:spPr>
          <a:xfrm>
            <a:off x="804718" y="1283342"/>
            <a:ext cx="58315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70C0"/>
              </a:buClr>
            </a:pPr>
            <a:r>
              <a:rPr lang="tr-TR" sz="2200" dirty="0"/>
              <a:t>    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</a:rPr>
              <a:t>What </a:t>
            </a:r>
            <a:r>
              <a:rPr lang="tr-TR" sz="2800" dirty="0">
                <a:latin typeface="Verdana" panose="020B0604030504040204" pitchFamily="34" charset="0"/>
                <a:ea typeface="Verdana" panose="020B0604030504040204" pitchFamily="34" charset="0"/>
              </a:rPr>
              <a:t>D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</a:rPr>
              <a:t>o </a:t>
            </a:r>
            <a:r>
              <a:rPr lang="tr-TR" sz="2800" dirty="0">
                <a:latin typeface="Verdana" panose="020B0604030504040204" pitchFamily="34" charset="0"/>
                <a:ea typeface="Verdana" panose="020B0604030504040204" pitchFamily="34" charset="0"/>
              </a:rPr>
              <a:t>We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tr-TR" sz="2800" dirty="0">
                <a:latin typeface="Verdana" panose="020B0604030504040204" pitchFamily="34" charset="0"/>
                <a:ea typeface="Verdana" panose="020B0604030504040204" pitchFamily="34" charset="0"/>
              </a:rPr>
              <a:t>P</a:t>
            </a:r>
            <a:r>
              <a:rPr lang="en-US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lan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</a:rPr>
              <a:t> to </a:t>
            </a:r>
            <a:r>
              <a:rPr lang="tr-TR" sz="2800" dirty="0"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  <a:r>
              <a:rPr lang="en-US" sz="2800" dirty="0" err="1">
                <a:latin typeface="Verdana" panose="020B0604030504040204" pitchFamily="34" charset="0"/>
                <a:ea typeface="Verdana" panose="020B0604030504040204" pitchFamily="34" charset="0"/>
              </a:rPr>
              <a:t>chieve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</a:rPr>
              <a:t>?</a:t>
            </a:r>
            <a:endParaRPr lang="tr-TR" sz="2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CCBF12-40B1-4841-A9A7-092A7D4A0A4E}"/>
              </a:ext>
            </a:extLst>
          </p:cNvPr>
          <p:cNvSpPr txBox="1"/>
          <p:nvPr/>
        </p:nvSpPr>
        <p:spPr>
          <a:xfrm>
            <a:off x="595018" y="2390487"/>
            <a:ext cx="5500982" cy="2338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Lower budget motor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battery pack</a:t>
            </a: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age</a:t>
            </a: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L</a:t>
            </a:r>
            <a:r>
              <a:rPr lang="en-US" sz="2000" dirty="0" err="1">
                <a:latin typeface="Verdana" panose="020B0604030504040204" pitchFamily="34" charset="0"/>
                <a:ea typeface="Verdana" panose="020B0604030504040204" pitchFamily="34" charset="0"/>
              </a:rPr>
              <a:t>ess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 energy for the same distance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M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ore efficient e-</a:t>
            </a:r>
            <a:r>
              <a:rPr lang="en-US" sz="2000" dirty="0" err="1">
                <a:latin typeface="Verdana" panose="020B0604030504040204" pitchFamily="34" charset="0"/>
                <a:ea typeface="Verdana" panose="020B0604030504040204" pitchFamily="34" charset="0"/>
              </a:rPr>
              <a:t>vtol</a:t>
            </a:r>
            <a:r>
              <a:rPr lang="en-US" sz="2000" dirty="0">
                <a:latin typeface="Verdana" panose="020B0604030504040204" pitchFamily="34" charset="0"/>
                <a:ea typeface="Verdana" panose="020B0604030504040204" pitchFamily="34" charset="0"/>
              </a:rPr>
              <a:t> systems</a:t>
            </a: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tr-TR" sz="2000" dirty="0">
                <a:latin typeface="Verdana" panose="020B0604030504040204" pitchFamily="34" charset="0"/>
                <a:ea typeface="Verdana" panose="020B0604030504040204" pitchFamily="34" charset="0"/>
              </a:rPr>
              <a:t>Lighter e-vtol systems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endParaRPr lang="tr-TR" sz="2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E5004F-4853-40FE-913C-96F737E7B90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59" t="6592" r="3057"/>
          <a:stretch/>
        </p:blipFill>
        <p:spPr>
          <a:xfrm>
            <a:off x="6869635" y="2390487"/>
            <a:ext cx="5158409" cy="258268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16" name="Freeform 19">
            <a:extLst>
              <a:ext uri="{FF2B5EF4-FFF2-40B4-BE49-F238E27FC236}">
                <a16:creationId xmlns:a16="http://schemas.microsoft.com/office/drawing/2014/main" id="{DA754725-C156-4D25-9DF7-CF056939F73F}"/>
              </a:ext>
            </a:extLst>
          </p:cNvPr>
          <p:cNvSpPr/>
          <p:nvPr/>
        </p:nvSpPr>
        <p:spPr>
          <a:xfrm>
            <a:off x="491143" y="1154453"/>
            <a:ext cx="627150" cy="652109"/>
          </a:xfrm>
          <a:custGeom>
            <a:avLst/>
            <a:gdLst/>
            <a:ahLst/>
            <a:cxnLst/>
            <a:rect l="l" t="t" r="r" b="b"/>
            <a:pathLst>
              <a:path w="1276515" h="1165110">
                <a:moveTo>
                  <a:pt x="0" y="0"/>
                </a:moveTo>
                <a:lnTo>
                  <a:pt x="1276515" y="0"/>
                </a:lnTo>
                <a:lnTo>
                  <a:pt x="1276515" y="1165110"/>
                </a:lnTo>
                <a:lnTo>
                  <a:pt x="0" y="116511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2995667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5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System Description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16C8459-7320-C911-D1DF-1F25CF788438}"/>
              </a:ext>
            </a:extLst>
          </p:cNvPr>
          <p:cNvSpPr txBox="1"/>
          <p:nvPr/>
        </p:nvSpPr>
        <p:spPr>
          <a:xfrm>
            <a:off x="794657" y="1262743"/>
            <a:ext cx="97862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200" dirty="0"/>
              <a:t>MX860 Vertical Take-Off and Landing</a:t>
            </a:r>
            <a:endParaRPr lang="en-IN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ABE330-78DA-4D22-B5B1-535A4E7EE8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303" y="1934366"/>
            <a:ext cx="6014301" cy="3557901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90ECD73-07EF-4B2A-89B7-97784BF939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24903" y="1934366"/>
            <a:ext cx="3575750" cy="3557901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extLst>
      <p:ext uri="{BB962C8B-B14F-4D97-AF65-F5344CB8AC3E}">
        <p14:creationId xmlns:p14="http://schemas.microsoft.com/office/powerpoint/2010/main" val="12712547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6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System Specifications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79118003-827C-4F1E-B14B-F2D09ECF1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477027"/>
              </p:ext>
            </p:extLst>
          </p:nvPr>
        </p:nvGraphicFramePr>
        <p:xfrm>
          <a:off x="441900" y="1699114"/>
          <a:ext cx="3901778" cy="37184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0889">
                  <a:extLst>
                    <a:ext uri="{9D8B030D-6E8A-4147-A177-3AD203B41FA5}">
                      <a16:colId xmlns:a16="http://schemas.microsoft.com/office/drawing/2014/main" val="738697973"/>
                    </a:ext>
                  </a:extLst>
                </a:gridCol>
                <a:gridCol w="1950889">
                  <a:extLst>
                    <a:ext uri="{9D8B030D-6E8A-4147-A177-3AD203B41FA5}">
                      <a16:colId xmlns:a16="http://schemas.microsoft.com/office/drawing/2014/main" val="1469993603"/>
                    </a:ext>
                  </a:extLst>
                </a:gridCol>
              </a:tblGrid>
              <a:tr h="455004">
                <a:tc>
                  <a:txBody>
                    <a:bodyPr/>
                    <a:lstStyle/>
                    <a:p>
                      <a:r>
                        <a:rPr lang="tr-TR" sz="2400" b="1" dirty="0">
                          <a:solidFill>
                            <a:schemeClr val="tx1"/>
                          </a:solidFill>
                        </a:rPr>
                        <a:t>Specific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sz="2400" b="1" dirty="0">
                          <a:solidFill>
                            <a:schemeClr val="tx1"/>
                          </a:solidFill>
                        </a:rPr>
                        <a:t>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542063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/>
                        <a:t>Max Take-off Weight</a:t>
                      </a:r>
                      <a:endParaRPr lang="tr-TR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/>
                        <a:t>19.96 k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39444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/>
                        <a:t>Weight (with Battery)</a:t>
                      </a:r>
                      <a:endParaRPr lang="tr-TR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dirty="0"/>
                        <a:t>9.96 k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921805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/>
                        <a:t>Battery</a:t>
                      </a:r>
                      <a:endParaRPr lang="tr-TR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 × 6S 30Ah 22.2 V (Total</a:t>
                      </a:r>
                      <a:r>
                        <a:rPr lang="en-US"/>
                        <a:t>: 60Ah, 5.2 kg)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154693"/>
                  </a:ext>
                </a:extLst>
              </a:tr>
              <a:tr h="379875">
                <a:tc>
                  <a:txBody>
                    <a:bodyPr/>
                    <a:lstStyle/>
                    <a:p>
                      <a:r>
                        <a:rPr lang="tr-TR" b="1" dirty="0"/>
                        <a:t>Hover Time ( 9 kg)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dirty="0"/>
                        <a:t>24 minu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238980"/>
                  </a:ext>
                </a:extLst>
              </a:tr>
              <a:tr h="655674">
                <a:tc>
                  <a:txBody>
                    <a:bodyPr/>
                    <a:lstStyle/>
                    <a:p>
                      <a:r>
                        <a:rPr lang="tr-TR" b="1" dirty="0"/>
                        <a:t>Motor Configuration</a:t>
                      </a:r>
                      <a:endParaRPr lang="tr-TR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tr-TR" dirty="0"/>
                        <a:t>8 × T-MOTOR MN6007 KV3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410368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02E1D0B-3837-4713-A888-7A346AED0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4700" y="1834782"/>
            <a:ext cx="3901778" cy="25910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63CB582-3104-47C8-A3E8-7E403935F4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1153"/>
          <a:stretch/>
        </p:blipFill>
        <p:spPr>
          <a:xfrm>
            <a:off x="8670290" y="1791255"/>
            <a:ext cx="3223895" cy="266726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62719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7</a:t>
            </a:fld>
            <a:endParaRPr lang="de-DE" dirty="0"/>
          </a:p>
        </p:txBody>
      </p:sp>
      <p:pic>
        <p:nvPicPr>
          <p:cNvPr id="30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/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ink Model Architecture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85028D-5F05-4F74-BEF7-3BC204DC41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4830"/>
            <a:ext cx="12192000" cy="4668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56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9A8E8E-5758-08B9-D8C4-30F80BDE5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100CB2A-68FD-6096-C2C2-A0696374460B}"/>
              </a:ext>
            </a:extLst>
          </p:cNvPr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DC0FF23-DD56-FBB3-2002-D3009C2821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8</a:t>
            </a:fld>
            <a:endParaRPr lang="de-DE" dirty="0"/>
          </a:p>
        </p:txBody>
      </p:sp>
      <p:pic>
        <p:nvPicPr>
          <p:cNvPr id="30" name="Picture 5" descr="I:\arrow.GIF">
            <a:extLst>
              <a:ext uri="{FF2B5EF4-FFF2-40B4-BE49-F238E27FC236}">
                <a16:creationId xmlns:a16="http://schemas.microsoft.com/office/drawing/2014/main" id="{C0CA557F-7FA2-63CD-EE12-E5E464F988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>
            <a:extLst>
              <a:ext uri="{FF2B5EF4-FFF2-40B4-BE49-F238E27FC236}">
                <a16:creationId xmlns:a16="http://schemas.microsoft.com/office/drawing/2014/main" id="{D58D2E84-3433-3A1F-35AE-7164287BF23E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ation Outputs</a:t>
            </a:r>
            <a:r>
              <a:rPr lang="en-US" b="1" dirty="0"/>
              <a:t> Flight Time vs Total Weight</a:t>
            </a:r>
            <a:r>
              <a:rPr lang="tr-TR" b="1" dirty="0"/>
              <a:t> (Ares)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>
            <a:extLst>
              <a:ext uri="{FF2B5EF4-FFF2-40B4-BE49-F238E27FC236}">
                <a16:creationId xmlns:a16="http://schemas.microsoft.com/office/drawing/2014/main" id="{2724C09F-148D-8AF8-3814-7A7A5C082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F9454A-7CD2-A421-326A-6C7CA0B12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717" y="1159011"/>
            <a:ext cx="9411823" cy="435450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90088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589C-104F-4BD2-38B5-959DE9C84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311CEBE-0DD9-3A4C-4C57-228B2E26C38B}"/>
              </a:ext>
            </a:extLst>
          </p:cNvPr>
          <p:cNvSpPr/>
          <p:nvPr/>
        </p:nvSpPr>
        <p:spPr>
          <a:xfrm>
            <a:off x="0" y="6795435"/>
            <a:ext cx="12192000" cy="72000"/>
          </a:xfrm>
          <a:prstGeom prst="rect">
            <a:avLst/>
          </a:prstGeom>
          <a:solidFill>
            <a:srgbClr val="1A4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C88686-5BF0-1B93-3059-2951ADD873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39225" y="6356350"/>
            <a:ext cx="2743200" cy="365125"/>
          </a:xfrm>
        </p:spPr>
        <p:txBody>
          <a:bodyPr/>
          <a:lstStyle/>
          <a:p>
            <a:fld id="{05FEBB84-A833-4D9F-8E64-647D4209DE1B}" type="slidenum">
              <a:rPr lang="de-DE" smtClean="0"/>
              <a:t>9</a:t>
            </a:fld>
            <a:endParaRPr lang="de-DE" dirty="0"/>
          </a:p>
        </p:txBody>
      </p:sp>
      <p:pic>
        <p:nvPicPr>
          <p:cNvPr id="30" name="Picture 5" descr="I:\arrow.GIF">
            <a:extLst>
              <a:ext uri="{FF2B5EF4-FFF2-40B4-BE49-F238E27FC236}">
                <a16:creationId xmlns:a16="http://schemas.microsoft.com/office/drawing/2014/main" id="{6D2D8D40-D099-DF63-6966-9A768CE89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3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hteck 9">
            <a:extLst>
              <a:ext uri="{FF2B5EF4-FFF2-40B4-BE49-F238E27FC236}">
                <a16:creationId xmlns:a16="http://schemas.microsoft.com/office/drawing/2014/main" id="{0F749B34-F03C-AEC1-861A-FD02403E4897}"/>
              </a:ext>
            </a:extLst>
          </p:cNvPr>
          <p:cNvSpPr txBox="1">
            <a:spLocks noChangeArrowheads="1"/>
          </p:cNvSpPr>
          <p:nvPr/>
        </p:nvSpPr>
        <p:spPr>
          <a:xfrm>
            <a:off x="2027" y="293595"/>
            <a:ext cx="9205347" cy="461665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vantGarde Bk BT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vantGarde Bk B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vantGarde Bk BT" pitchFamily="34" charset="0"/>
              </a:defRPr>
            </a:lvl9pPr>
          </a:lstStyle>
          <a:p>
            <a:pPr>
              <a:tabLst>
                <a:tab pos="715963" algn="l"/>
              </a:tabLst>
              <a:defRPr/>
            </a:pPr>
            <a:r>
              <a:rPr lang="de-DE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	</a:t>
            </a:r>
            <a:r>
              <a:rPr lang="en-US" b="1" dirty="0">
                <a:solidFill>
                  <a:srgbClr val="8064A2">
                    <a:lumMod val="50000"/>
                  </a:srgbClr>
                </a:solidFill>
                <a:latin typeface="AvantGarde Md BT" panose="020B0602020202020204" pitchFamily="34" charset="0"/>
              </a:rPr>
              <a:t> </a:t>
            </a:r>
            <a:r>
              <a:rPr lang="tr-TR" b="1" dirty="0"/>
              <a:t>Simulation Outputs</a:t>
            </a:r>
            <a:r>
              <a:rPr lang="en-US" b="1" dirty="0"/>
              <a:t> Flight Time vs Hover Thrust</a:t>
            </a:r>
            <a:r>
              <a:rPr lang="tr-TR" b="1" dirty="0"/>
              <a:t> (Ares)</a:t>
            </a:r>
            <a:endParaRPr lang="en-US" b="1" dirty="0">
              <a:solidFill>
                <a:srgbClr val="8064A2">
                  <a:lumMod val="50000"/>
                </a:srgbClr>
              </a:solidFill>
              <a:latin typeface="AvantGarde Md BT" panose="020B0602020202020204" pitchFamily="34" charset="0"/>
            </a:endParaRPr>
          </a:p>
        </p:txBody>
      </p:sp>
      <p:pic>
        <p:nvPicPr>
          <p:cNvPr id="35" name="Picture 5" descr="I:\arrow.GIF">
            <a:extLst>
              <a:ext uri="{FF2B5EF4-FFF2-40B4-BE49-F238E27FC236}">
                <a16:creationId xmlns:a16="http://schemas.microsoft.com/office/drawing/2014/main" id="{52F416BC-9616-842D-1589-60C627CFC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88" y="394254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50C634-E79E-FF92-8A37-5C6DABA414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124376"/>
            <a:ext cx="9910915" cy="4609247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extLst>
      <p:ext uri="{BB962C8B-B14F-4D97-AF65-F5344CB8AC3E}">
        <p14:creationId xmlns:p14="http://schemas.microsoft.com/office/powerpoint/2010/main" val="1528903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10</TotalTime>
  <Words>715</Words>
  <Application>Microsoft Office PowerPoint</Application>
  <PresentationFormat>Widescreen</PresentationFormat>
  <Paragraphs>151</Paragraphs>
  <Slides>2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  <vt:variant>
        <vt:lpstr>Custom Shows</vt:lpstr>
      </vt:variant>
      <vt:variant>
        <vt:i4>1</vt:i4>
      </vt:variant>
    </vt:vector>
  </HeadingPairs>
  <TitlesOfParts>
    <vt:vector size="31" baseType="lpstr">
      <vt:lpstr>Arial</vt:lpstr>
      <vt:lpstr>AvantGarde Bk BT</vt:lpstr>
      <vt:lpstr>AvantGarde Md BT</vt:lpstr>
      <vt:lpstr>Calibri</vt:lpstr>
      <vt:lpstr>Calibri Light</vt:lpstr>
      <vt:lpstr>Roboto</vt:lpstr>
      <vt:lpstr>Times New Roman</vt:lpstr>
      <vt:lpstr>Verdana</vt:lpstr>
      <vt:lpstr>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Zielgruppenpräsentation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ra Maier</dc:creator>
  <cp:lastModifiedBy>Naresh Tuppathi</cp:lastModifiedBy>
  <cp:revision>302</cp:revision>
  <cp:lastPrinted>2020-09-08T09:40:15Z</cp:lastPrinted>
  <dcterms:created xsi:type="dcterms:W3CDTF">2019-09-09T12:43:43Z</dcterms:created>
  <dcterms:modified xsi:type="dcterms:W3CDTF">2025-06-18T13:41:36Z</dcterms:modified>
</cp:coreProperties>
</file>